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17"/>
  </p:notesMasterIdLst>
  <p:sldIdLst>
    <p:sldId id="256" r:id="rId6"/>
    <p:sldId id="334" r:id="rId7"/>
    <p:sldId id="339" r:id="rId8"/>
    <p:sldId id="335" r:id="rId9"/>
    <p:sldId id="337" r:id="rId10"/>
    <p:sldId id="343" r:id="rId11"/>
    <p:sldId id="356" r:id="rId12"/>
    <p:sldId id="338" r:id="rId13"/>
    <p:sldId id="344" r:id="rId14"/>
    <p:sldId id="340" r:id="rId15"/>
    <p:sldId id="354" r:id="rId16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5A9B857-13F4-4411-B5EF-1C2E44F5B964}">
          <p14:sldIdLst>
            <p14:sldId id="256"/>
            <p14:sldId id="334"/>
            <p14:sldId id="339"/>
            <p14:sldId id="335"/>
            <p14:sldId id="337"/>
            <p14:sldId id="343"/>
            <p14:sldId id="356"/>
            <p14:sldId id="338"/>
            <p14:sldId id="344"/>
            <p14:sldId id="340"/>
            <p14:sldId id="35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29" autoAdjust="0"/>
  </p:normalViewPr>
  <p:slideViewPr>
    <p:cSldViewPr snapToGrid="0">
      <p:cViewPr varScale="1">
        <p:scale>
          <a:sx n="98" d="100"/>
          <a:sy n="98" d="100"/>
        </p:scale>
        <p:origin x="110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0">
            <a:lnSpc>
              <a:spcPct val="110000"/>
            </a:lnSpc>
            <a:buNone/>
          </a:pPr>
          <a:r>
            <a:rPr lang="en-US" sz="1800" dirty="0">
              <a:latin typeface="Frutiger LT Com 65 Bold" panose="020B0803030504020204" pitchFamily="34" charset="0"/>
            </a:rPr>
            <a:t>2020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800" dirty="0">
              <a:latin typeface="Frutiger LT Com 65 Bold" panose="020B0803030504020204" pitchFamily="34" charset="0"/>
            </a:rPr>
            <a:t>2021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800" dirty="0">
              <a:latin typeface="Frutiger LT Com 65 Bold" panose="020B0803030504020204" pitchFamily="34" charset="0"/>
            </a:rPr>
            <a:t>2022</a:t>
          </a:r>
          <a:endParaRPr lang="en-US" sz="1800" dirty="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800" b="1" dirty="0"/>
            <a:t>2023</a:t>
          </a:r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0507EB23-E579-4478-95DE-8B3AF2785525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Oct: Inaugural workshop </a:t>
          </a:r>
        </a:p>
      </dgm:t>
    </dgm:pt>
    <dgm:pt modelId="{123B8FA7-F5AC-4574-A3AA-6A93B87ED425}" type="sibTrans" cxnId="{0D6EFCC2-FDF8-4F6E-9A5E-CA692745C16F}">
      <dgm:prSet/>
      <dgm:spPr/>
      <dgm:t>
        <a:bodyPr/>
        <a:lstStyle/>
        <a:p>
          <a:endParaRPr lang="de-DE"/>
        </a:p>
      </dgm:t>
    </dgm:pt>
    <dgm:pt modelId="{F3890ED8-B1A6-42C1-ACD6-91916746AB30}" type="parTrans" cxnId="{0D6EFCC2-FDF8-4F6E-9A5E-CA692745C16F}">
      <dgm:prSet/>
      <dgm:spPr/>
      <dgm:t>
        <a:bodyPr/>
        <a:lstStyle/>
        <a:p>
          <a:endParaRPr lang="de-DE"/>
        </a:p>
      </dgm:t>
    </dgm:pt>
    <dgm:pt modelId="{DBCD5B3C-A86D-47A2-8434-08E893599803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975" indent="-180975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Dec: Meeting</a:t>
          </a:r>
        </a:p>
      </dgm:t>
    </dgm:pt>
    <dgm:pt modelId="{E6ED9BA8-1290-4AB4-B022-0176401CC517}" type="parTrans" cxnId="{0B5FD747-676C-4F70-8EA0-D706FAAD205B}">
      <dgm:prSet/>
      <dgm:spPr/>
      <dgm:t>
        <a:bodyPr/>
        <a:lstStyle/>
        <a:p>
          <a:endParaRPr lang="de-DE"/>
        </a:p>
      </dgm:t>
    </dgm:pt>
    <dgm:pt modelId="{FEF86C3F-064E-4F3B-9B4B-2A707289F53B}" type="sibTrans" cxnId="{0B5FD747-676C-4F70-8EA0-D706FAAD205B}">
      <dgm:prSet/>
      <dgm:spPr/>
      <dgm:t>
        <a:bodyPr/>
        <a:lstStyle/>
        <a:p>
          <a:endParaRPr lang="de-DE"/>
        </a:p>
      </dgm:t>
    </dgm:pt>
    <dgm:pt modelId="{E60CAAF8-428E-4EC6-A91F-FEC80A57B5A5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Sep: WHO clearance</a:t>
          </a:r>
        </a:p>
      </dgm:t>
    </dgm:pt>
    <dgm:pt modelId="{1643D90C-F6DC-40D5-9CE6-2CC43E23CAE5}" type="parTrans" cxnId="{B2CDDF49-2946-4C25-AA1B-D3A698579505}">
      <dgm:prSet/>
      <dgm:spPr/>
      <dgm:t>
        <a:bodyPr/>
        <a:lstStyle/>
        <a:p>
          <a:endParaRPr lang="de-DE"/>
        </a:p>
      </dgm:t>
    </dgm:pt>
    <dgm:pt modelId="{2A5F5B2F-ADDD-4D6F-8350-633F3CA4D2D0}" type="sibTrans" cxnId="{B2CDDF49-2946-4C25-AA1B-D3A698579505}">
      <dgm:prSet/>
      <dgm:spPr/>
      <dgm:t>
        <a:bodyPr/>
        <a:lstStyle/>
        <a:p>
          <a:endParaRPr lang="de-DE"/>
        </a:p>
      </dgm:t>
    </dgm:pt>
    <dgm:pt modelId="{F120C875-C509-4081-87E6-6350904753BD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dirty="0">
            <a:solidFill>
              <a:schemeClr val="bg1"/>
            </a:solidFill>
          </a:endParaRPr>
        </a:p>
      </dgm:t>
    </dgm:pt>
    <dgm:pt modelId="{2E0E720D-110C-4EE4-9D09-849E526553BD}" type="parTrans" cxnId="{8330F4DB-2FD0-423F-AB4F-95EACD0A5EE0}">
      <dgm:prSet/>
      <dgm:spPr/>
      <dgm:t>
        <a:bodyPr/>
        <a:lstStyle/>
        <a:p>
          <a:endParaRPr lang="de-DE"/>
        </a:p>
      </dgm:t>
    </dgm:pt>
    <dgm:pt modelId="{4AE28C9C-610B-4512-A6F1-FEDBA241D3BF}" type="sibTrans" cxnId="{8330F4DB-2FD0-423F-AB4F-95EACD0A5EE0}">
      <dgm:prSet/>
      <dgm:spPr/>
      <dgm:t>
        <a:bodyPr/>
        <a:lstStyle/>
        <a:p>
          <a:endParaRPr lang="de-DE"/>
        </a:p>
      </dgm:t>
    </dgm:pt>
    <dgm:pt modelId="{F8E3A3B7-F438-45D5-A29C-F200999E4D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Jan &amp; Feb: FG approval</a:t>
          </a:r>
        </a:p>
      </dgm:t>
    </dgm:pt>
    <dgm:pt modelId="{EBE74FE5-8352-47B1-A213-85F22B3EEE1C}" type="parTrans" cxnId="{A947D035-0B8B-4855-A643-AE9D369D77DA}">
      <dgm:prSet/>
      <dgm:spPr/>
      <dgm:t>
        <a:bodyPr/>
        <a:lstStyle/>
        <a:p>
          <a:endParaRPr lang="de-DE"/>
        </a:p>
      </dgm:t>
    </dgm:pt>
    <dgm:pt modelId="{37D7261F-5B1C-4A5C-8B6C-844FD207F39B}" type="sibTrans" cxnId="{A947D035-0B8B-4855-A643-AE9D369D77DA}">
      <dgm:prSet/>
      <dgm:spPr/>
      <dgm:t>
        <a:bodyPr/>
        <a:lstStyle/>
        <a:p>
          <a:endParaRPr lang="de-DE"/>
        </a:p>
      </dgm:t>
    </dgm:pt>
    <dgm:pt modelId="{DD4E9A18-2A8A-4AA0-802F-381B7855DAA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None/>
            <a:tabLst/>
          </a:pPr>
          <a:endParaRPr lang="en-US" sz="1400" dirty="0">
            <a:solidFill>
              <a:schemeClr val="bg1"/>
            </a:solidFill>
          </a:endParaRPr>
        </a:p>
      </dgm:t>
    </dgm:pt>
    <dgm:pt modelId="{B530A2DD-29FD-49B0-9122-03FC27C2B2DF}" type="parTrans" cxnId="{FF5BCB6A-3DC2-4341-9559-9552C881344C}">
      <dgm:prSet/>
      <dgm:spPr/>
      <dgm:t>
        <a:bodyPr/>
        <a:lstStyle/>
        <a:p>
          <a:endParaRPr lang="de-DE"/>
        </a:p>
      </dgm:t>
    </dgm:pt>
    <dgm:pt modelId="{592B1058-E6E3-4713-B13C-71CDE231CE94}" type="sibTrans" cxnId="{FF5BCB6A-3DC2-4341-9559-9552C881344C}">
      <dgm:prSet/>
      <dgm:spPr/>
      <dgm:t>
        <a:bodyPr/>
        <a:lstStyle/>
        <a:p>
          <a:endParaRPr lang="de-DE"/>
        </a:p>
      </dgm:t>
    </dgm:pt>
    <dgm:pt modelId="{B6AA7AF8-8E5E-423B-AEC6-2E09EFA772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Mar: LMIC meeting</a:t>
          </a:r>
        </a:p>
      </dgm:t>
    </dgm:pt>
    <dgm:pt modelId="{DC7A4BE5-4896-420E-85A6-C4D22092C1F7}" type="sibTrans" cxnId="{79319D4F-6831-44C3-854B-6DFD55FEB07A}">
      <dgm:prSet/>
      <dgm:spPr/>
      <dgm:t>
        <a:bodyPr/>
        <a:lstStyle/>
        <a:p>
          <a:endParaRPr lang="de-DE"/>
        </a:p>
      </dgm:t>
    </dgm:pt>
    <dgm:pt modelId="{DD3AAC74-1FDB-4118-80FD-2C9569C48377}" type="parTrans" cxnId="{79319D4F-6831-44C3-854B-6DFD55FEB07A}">
      <dgm:prSet/>
      <dgm:spPr/>
      <dgm:t>
        <a:bodyPr/>
        <a:lstStyle/>
        <a:p>
          <a:endParaRPr lang="de-DE"/>
        </a:p>
      </dgm:t>
    </dgm:pt>
    <dgm:pt modelId="{62403018-E2A8-4BCD-A5CB-852ABBE7DB6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Apr: Review  &amp; meeting </a:t>
          </a:r>
        </a:p>
      </dgm:t>
    </dgm:pt>
    <dgm:pt modelId="{F8FA67A1-203D-4C58-BBBE-F741271D58A8}" type="sibTrans" cxnId="{63835FCB-F259-4C25-8657-052136F192D8}">
      <dgm:prSet/>
      <dgm:spPr/>
      <dgm:t>
        <a:bodyPr/>
        <a:lstStyle/>
        <a:p>
          <a:endParaRPr lang="de-DE"/>
        </a:p>
      </dgm:t>
    </dgm:pt>
    <dgm:pt modelId="{DBC92329-ECB9-4BAB-826B-867020D31D06}" type="parTrans" cxnId="{63835FCB-F259-4C25-8657-052136F192D8}">
      <dgm:prSet/>
      <dgm:spPr/>
      <dgm:t>
        <a:bodyPr/>
        <a:lstStyle/>
        <a:p>
          <a:endParaRPr lang="de-DE"/>
        </a:p>
      </dgm:t>
    </dgm:pt>
    <dgm:pt modelId="{E05C9ED9-D6B5-F749-9F8A-04780507B5E4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Sep: Review </a:t>
          </a:r>
        </a:p>
      </dgm:t>
    </dgm:pt>
    <dgm:pt modelId="{16C86B32-B972-B742-ACE6-F64F001AE195}" type="parTrans" cxnId="{333F078A-8BBB-6A47-8CF1-86424B17E05D}">
      <dgm:prSet/>
      <dgm:spPr/>
      <dgm:t>
        <a:bodyPr/>
        <a:lstStyle/>
        <a:p>
          <a:endParaRPr lang="de-DE"/>
        </a:p>
      </dgm:t>
    </dgm:pt>
    <dgm:pt modelId="{0B7436E7-0B2A-FE45-AB80-29EC638F92B3}" type="sibTrans" cxnId="{333F078A-8BBB-6A47-8CF1-86424B17E05D}">
      <dgm:prSet/>
      <dgm:spPr/>
      <dgm:t>
        <a:bodyPr/>
        <a:lstStyle/>
        <a:p>
          <a:endParaRPr lang="de-DE"/>
        </a:p>
      </dgm:t>
    </dgm:pt>
    <dgm:pt modelId="{AB999E15-5A9E-A142-AE25-F41128C4D29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Nov: Meeting</a:t>
          </a:r>
        </a:p>
      </dgm:t>
    </dgm:pt>
    <dgm:pt modelId="{CFED000F-8713-EF4B-9EEE-D1CAF0A44812}" type="parTrans" cxnId="{8D1BFC95-88D9-AB4A-819A-5B258D1B4788}">
      <dgm:prSet/>
      <dgm:spPr/>
      <dgm:t>
        <a:bodyPr/>
        <a:lstStyle/>
        <a:p>
          <a:endParaRPr lang="de-DE"/>
        </a:p>
      </dgm:t>
    </dgm:pt>
    <dgm:pt modelId="{D2A83767-F445-BE44-801E-970F2732A4A5}" type="sibTrans" cxnId="{8D1BFC95-88D9-AB4A-819A-5B258D1B4788}">
      <dgm:prSet/>
      <dgm:spPr/>
      <dgm:t>
        <a:bodyPr/>
        <a:lstStyle/>
        <a:p>
          <a:endParaRPr lang="de-DE"/>
        </a:p>
      </dgm:t>
    </dgm:pt>
    <dgm:pt modelId="{4BE50766-6D1A-F940-8D3E-31699156F6E9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Oct: Meeting</a:t>
          </a:r>
        </a:p>
      </dgm:t>
    </dgm:pt>
    <dgm:pt modelId="{6D40DEEE-EC2F-564B-85E7-BB5F2A1E5FF8}" type="parTrans" cxnId="{694F6D0A-7B3E-8F4D-83E1-ADB94726E9C3}">
      <dgm:prSet/>
      <dgm:spPr/>
      <dgm:t>
        <a:bodyPr/>
        <a:lstStyle/>
        <a:p>
          <a:endParaRPr lang="de-DE"/>
        </a:p>
      </dgm:t>
    </dgm:pt>
    <dgm:pt modelId="{B266B8AC-38AD-7244-88E2-A2297DED671E}" type="sibTrans" cxnId="{694F6D0A-7B3E-8F4D-83E1-ADB94726E9C3}">
      <dgm:prSet/>
      <dgm:spPr/>
      <dgm:t>
        <a:bodyPr/>
        <a:lstStyle/>
        <a:p>
          <a:endParaRPr lang="de-DE"/>
        </a:p>
      </dgm:t>
    </dgm:pt>
    <dgm:pt modelId="{859AED8F-8A1E-BA48-82C8-8766A2748B2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Publications ITU, WHO (ongoing clearance)</a:t>
          </a:r>
        </a:p>
      </dgm:t>
    </dgm:pt>
    <dgm:pt modelId="{B02C32D2-08E0-F541-87A4-E6893CB93593}" type="parTrans" cxnId="{EC87E4C1-94EF-1846-A01D-093AE4BF6452}">
      <dgm:prSet/>
      <dgm:spPr/>
      <dgm:t>
        <a:bodyPr/>
        <a:lstStyle/>
        <a:p>
          <a:endParaRPr lang="de-DE"/>
        </a:p>
      </dgm:t>
    </dgm:pt>
    <dgm:pt modelId="{FBC55E50-D50A-C549-A0DC-0B4691233F4D}" type="sibTrans" cxnId="{EC87E4C1-94EF-1846-A01D-093AE4BF6452}">
      <dgm:prSet/>
      <dgm:spPr/>
      <dgm:t>
        <a:bodyPr/>
        <a:lstStyle/>
        <a:p>
          <a:endParaRPr lang="de-DE"/>
        </a:p>
      </dgm:t>
    </dgm:pt>
    <dgm:pt modelId="{C4329AB1-170D-784F-A327-53121543C3F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dirty="0">
              <a:solidFill>
                <a:schemeClr val="bg1"/>
              </a:solidFill>
            </a:rPr>
            <a:t>Oct/Nov: Follow up meetings</a:t>
          </a:r>
        </a:p>
      </dgm:t>
    </dgm:pt>
    <dgm:pt modelId="{DEB17C85-9504-7A42-BAFF-67E8068A6AA1}" type="parTrans" cxnId="{91930AA1-AEB9-7F4D-B7F2-62CEB4C26B30}">
      <dgm:prSet/>
      <dgm:spPr/>
      <dgm:t>
        <a:bodyPr/>
        <a:lstStyle/>
        <a:p>
          <a:endParaRPr lang="de-DE"/>
        </a:p>
      </dgm:t>
    </dgm:pt>
    <dgm:pt modelId="{60A501E1-DB25-D04D-8825-8E62ECC5BCB0}" type="sibTrans" cxnId="{91930AA1-AEB9-7F4D-B7F2-62CEB4C26B30}">
      <dgm:prSet/>
      <dgm:spPr/>
      <dgm:t>
        <a:bodyPr/>
        <a:lstStyle/>
        <a:p>
          <a:endParaRPr lang="de-DE"/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B9826503-FF9C-6249-9C5E-E871F59DF66E}" type="pres">
      <dgm:prSet presAssocID="{42D71409-67F9-455C-8C6D-716D284AAA6B}" presName="parAndChTx" presStyleLbl="node1" presStyleIdx="0" presStyleCnt="4">
        <dgm:presLayoutVars>
          <dgm:bulletEnabled val="1"/>
        </dgm:presLayoutVars>
      </dgm:prSet>
      <dgm:spPr/>
    </dgm:pt>
    <dgm:pt modelId="{9E68C294-9D60-C64E-831C-8471394B08F2}" type="pres">
      <dgm:prSet presAssocID="{478B7D3C-9FB4-4BC6-90AC-49960560DECD}" presName="parAndChSpace" presStyleCnt="0"/>
      <dgm:spPr/>
    </dgm:pt>
    <dgm:pt modelId="{CE4FB90A-23D3-624D-9472-058615351CBF}" type="pres">
      <dgm:prSet presAssocID="{F66099B6-DBBD-4AB0-82D2-877B80F846F7}" presName="parAndChTx" presStyleLbl="node1" presStyleIdx="1" presStyleCnt="4" custLinFactNeighborX="238">
        <dgm:presLayoutVars>
          <dgm:bulletEnabled val="1"/>
        </dgm:presLayoutVars>
      </dgm:prSet>
      <dgm:spPr>
        <a:xfrm>
          <a:off x="2139347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85FAA2A2-408F-4949-BE8D-AD37BDF00EDF}" type="pres">
      <dgm:prSet presAssocID="{BC531B32-9B0E-482E-BF91-65C61F17168D}" presName="parAndChSpace" presStyleCnt="0"/>
      <dgm:spPr/>
    </dgm:pt>
    <dgm:pt modelId="{06E132D3-40E2-204E-AF8C-A0D9B0AEDE48}" type="pres">
      <dgm:prSet presAssocID="{2A22E84C-3AA3-4E9C-AE5F-9C2FB0D7FB11}" presName="parAndChTx" presStyleLbl="node1" presStyleIdx="2" presStyleCnt="4" custLinFactNeighborX="808">
        <dgm:presLayoutVars>
          <dgm:bulletEnabled val="1"/>
        </dgm:presLayoutVars>
      </dgm:prSet>
      <dgm:spPr>
        <a:xfrm>
          <a:off x="641580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0533F1AC-E484-2A4A-87E0-4742A07FFE2C}" type="pres">
      <dgm:prSet presAssocID="{744EA591-F199-49C2-B63A-82709D96C729}" presName="parAndChSpace" presStyleCnt="0"/>
      <dgm:spPr/>
    </dgm:pt>
    <dgm:pt modelId="{182A42C9-E9CF-A141-834A-3F05F838D1A7}" type="pres">
      <dgm:prSet presAssocID="{36045517-CEA4-4BE3-B836-C2B6BFE5649B}" presName="parAndChTx" presStyleLbl="node1" presStyleIdx="3" presStyleCnt="4" custLinFactNeighborX="2247">
        <dgm:presLayoutVars>
          <dgm:bulletEnabled val="1"/>
        </dgm:presLayoutVars>
      </dgm:prSet>
      <dgm:spPr>
        <a:xfrm>
          <a:off x="8549566" y="1032955"/>
          <a:ext cx="2670883" cy="2136706"/>
        </a:xfrm>
        <a:prstGeom prst="chevron">
          <a:avLst>
            <a:gd name="adj" fmla="val 25000"/>
          </a:avLst>
        </a:prstGeom>
      </dgm:spPr>
    </dgm:pt>
  </dgm:ptLst>
  <dgm:cxnLst>
    <dgm:cxn modelId="{26D83005-2481-4448-8554-976BA5AEB4FC}" type="presOf" srcId="{E05C9ED9-D6B5-F749-9F8A-04780507B5E4}" destId="{CE4FB90A-23D3-624D-9472-058615351CBF}" srcOrd="0" destOrd="3" presId="urn:microsoft.com/office/officeart/2005/8/layout/hChevron3"/>
    <dgm:cxn modelId="{694F6D0A-7B3E-8F4D-83E1-ADB94726E9C3}" srcId="{2A22E84C-3AA3-4E9C-AE5F-9C2FB0D7FB11}" destId="{4BE50766-6D1A-F940-8D3E-31699156F6E9}" srcOrd="1" destOrd="0" parTransId="{6D40DEEE-EC2F-564B-85E7-BB5F2A1E5FF8}" sibTransId="{B266B8AC-38AD-7244-88E2-A2297DED671E}"/>
    <dgm:cxn modelId="{F2BC8F1B-6C7C-4037-8FA2-511BCA555262}" type="presOf" srcId="{0507EB23-E579-4478-95DE-8B3AF2785525}" destId="{B9826503-FF9C-6249-9C5E-E871F59DF66E}" srcOrd="0" destOrd="1" presId="urn:microsoft.com/office/officeart/2005/8/layout/hChevron3"/>
    <dgm:cxn modelId="{61D7941F-5EBF-492C-9D57-B49C1BE1EA1C}" type="presOf" srcId="{B6AA7AF8-8E5E-423B-AEC6-2E09EFA77200}" destId="{CE4FB90A-23D3-624D-9472-058615351CBF}" srcOrd="0" destOrd="1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A947D035-0B8B-4855-A643-AE9D369D77DA}" srcId="{36045517-CEA4-4BE3-B836-C2B6BFE5649B}" destId="{F8E3A3B7-F438-45D5-A29C-F200999E4D00}" srcOrd="0" destOrd="0" parTransId="{EBE74FE5-8352-47B1-A213-85F22B3EEE1C}" sibTransId="{37D7261F-5B1C-4A5C-8B6C-844FD207F39B}"/>
    <dgm:cxn modelId="{4019353B-443B-4DED-AA6C-3C60E18414C7}" srcId="{B9C32B05-62EA-407A-B21C-2310C7945705}" destId="{36045517-CEA4-4BE3-B836-C2B6BFE5649B}" srcOrd="3" destOrd="0" parTransId="{6231A36F-9B04-4B4A-917A-7E163AFFC956}" sibTransId="{BFF3C5ED-87D0-4709-A3B8-A7BF0668006A}"/>
    <dgm:cxn modelId="{C372D560-F3C4-4CD5-91B5-7198B58A4521}" type="presOf" srcId="{DBCD5B3C-A86D-47A2-8434-08E893599803}" destId="{B9826503-FF9C-6249-9C5E-E871F59DF66E}" srcOrd="0" destOrd="2" presId="urn:microsoft.com/office/officeart/2005/8/layout/hChevron3"/>
    <dgm:cxn modelId="{B6B86044-5BC8-FE46-9BCF-5CF76809D2F5}" type="presOf" srcId="{AB999E15-5A9E-A142-AE25-F41128C4D291}" destId="{CE4FB90A-23D3-624D-9472-058615351CBF}" srcOrd="0" destOrd="4" presId="urn:microsoft.com/office/officeart/2005/8/layout/hChevron3"/>
    <dgm:cxn modelId="{A32A0746-47D7-A044-B39A-6BBB4F69D964}" type="presOf" srcId="{4BE50766-6D1A-F940-8D3E-31699156F6E9}" destId="{06E132D3-40E2-204E-AF8C-A0D9B0AEDE48}" srcOrd="0" destOrd="2" presId="urn:microsoft.com/office/officeart/2005/8/layout/hChevron3"/>
    <dgm:cxn modelId="{0B5FD747-676C-4F70-8EA0-D706FAAD205B}" srcId="{42D71409-67F9-455C-8C6D-716D284AAA6B}" destId="{DBCD5B3C-A86D-47A2-8434-08E893599803}" srcOrd="1" destOrd="0" parTransId="{E6ED9BA8-1290-4AB4-B022-0176401CC517}" sibTransId="{FEF86C3F-064E-4F3B-9B4B-2A707289F53B}"/>
    <dgm:cxn modelId="{B2CDDF49-2946-4C25-AA1B-D3A698579505}" srcId="{2A22E84C-3AA3-4E9C-AE5F-9C2FB0D7FB11}" destId="{E60CAAF8-428E-4EC6-A91F-FEC80A57B5A5}" srcOrd="0" destOrd="0" parTransId="{1643D90C-F6DC-40D5-9CE6-2CC43E23CAE5}" sibTransId="{2A5F5B2F-ADDD-4D6F-8350-633F3CA4D2D0}"/>
    <dgm:cxn modelId="{FF5BCB6A-3DC2-4341-9559-9552C881344C}" srcId="{36045517-CEA4-4BE3-B836-C2B6BFE5649B}" destId="{DD4E9A18-2A8A-4AA0-802F-381B7855DAA1}" srcOrd="2" destOrd="0" parTransId="{B530A2DD-29FD-49B0-9122-03FC27C2B2DF}" sibTransId="{592B1058-E6E3-4713-B13C-71CDE231CE94}"/>
    <dgm:cxn modelId="{79319D4F-6831-44C3-854B-6DFD55FEB07A}" srcId="{F66099B6-DBBD-4AB0-82D2-877B80F846F7}" destId="{B6AA7AF8-8E5E-423B-AEC6-2E09EFA77200}" srcOrd="0" destOrd="0" parTransId="{DD3AAC74-1FDB-4118-80FD-2C9569C48377}" sibTransId="{DC7A4BE5-4896-420E-85A6-C4D22092C1F7}"/>
    <dgm:cxn modelId="{8906177E-5F13-DD48-B63A-007B0E29E627}" type="presOf" srcId="{C4329AB1-170D-784F-A327-53121543C3F1}" destId="{06E132D3-40E2-204E-AF8C-A0D9B0AEDE48}" srcOrd="0" destOrd="3" presId="urn:microsoft.com/office/officeart/2005/8/layout/hChevron3"/>
    <dgm:cxn modelId="{6098A082-8692-AB46-984B-7F99438C1E5E}" type="presOf" srcId="{2A22E84C-3AA3-4E9C-AE5F-9C2FB0D7FB11}" destId="{06E132D3-40E2-204E-AF8C-A0D9B0AEDE48}" srcOrd="0" destOrd="0" presId="urn:microsoft.com/office/officeart/2005/8/layout/hChevron3"/>
    <dgm:cxn modelId="{06A6BA89-3251-4B4B-BFF9-C5C71D022B5A}" type="presOf" srcId="{859AED8F-8A1E-BA48-82C8-8766A2748B28}" destId="{182A42C9-E9CF-A141-834A-3F05F838D1A7}" srcOrd="0" destOrd="2" presId="urn:microsoft.com/office/officeart/2005/8/layout/hChevron3"/>
    <dgm:cxn modelId="{499AFE89-1C22-4809-A31B-44BC6F87F2FD}" type="presOf" srcId="{DD4E9A18-2A8A-4AA0-802F-381B7855DAA1}" destId="{182A42C9-E9CF-A141-834A-3F05F838D1A7}" srcOrd="0" destOrd="3" presId="urn:microsoft.com/office/officeart/2005/8/layout/hChevron3"/>
    <dgm:cxn modelId="{333F078A-8BBB-6A47-8CF1-86424B17E05D}" srcId="{F66099B6-DBBD-4AB0-82D2-877B80F846F7}" destId="{E05C9ED9-D6B5-F749-9F8A-04780507B5E4}" srcOrd="2" destOrd="0" parTransId="{16C86B32-B972-B742-ACE6-F64F001AE195}" sibTransId="{0B7436E7-0B2A-FE45-AB80-29EC638F92B3}"/>
    <dgm:cxn modelId="{8D1BFC95-88D9-AB4A-819A-5B258D1B4788}" srcId="{F66099B6-DBBD-4AB0-82D2-877B80F846F7}" destId="{AB999E15-5A9E-A142-AE25-F41128C4D291}" srcOrd="3" destOrd="0" parTransId="{CFED000F-8713-EF4B-9EEE-D1CAF0A44812}" sibTransId="{D2A83767-F445-BE44-801E-970F2732A4A5}"/>
    <dgm:cxn modelId="{91930AA1-AEB9-7F4D-B7F2-62CEB4C26B30}" srcId="{2A22E84C-3AA3-4E9C-AE5F-9C2FB0D7FB11}" destId="{C4329AB1-170D-784F-A327-53121543C3F1}" srcOrd="2" destOrd="0" parTransId="{DEB17C85-9504-7A42-BAFF-67E8068A6AA1}" sibTransId="{60A501E1-DB25-D04D-8825-8E62ECC5BCB0}"/>
    <dgm:cxn modelId="{5FC5EAA9-04D6-4B44-89E3-55C1C95F6D03}" type="presOf" srcId="{42D71409-67F9-455C-8C6D-716D284AAA6B}" destId="{B9826503-FF9C-6249-9C5E-E871F59DF66E}" srcOrd="0" destOrd="0" presId="urn:microsoft.com/office/officeart/2005/8/layout/hChevron3"/>
    <dgm:cxn modelId="{448C13BD-94AB-47FD-A3E5-F77C1D4F29A1}" type="presOf" srcId="{E60CAAF8-428E-4EC6-A91F-FEC80A57B5A5}" destId="{06E132D3-40E2-204E-AF8C-A0D9B0AEDE48}" srcOrd="0" destOrd="1" presId="urn:microsoft.com/office/officeart/2005/8/layout/hChevron3"/>
    <dgm:cxn modelId="{EC87E4C1-94EF-1846-A01D-093AE4BF6452}" srcId="{36045517-CEA4-4BE3-B836-C2B6BFE5649B}" destId="{859AED8F-8A1E-BA48-82C8-8766A2748B28}" srcOrd="1" destOrd="0" parTransId="{B02C32D2-08E0-F541-87A4-E6893CB93593}" sibTransId="{FBC55E50-D50A-C549-A0DC-0B4691233F4D}"/>
    <dgm:cxn modelId="{6C3A2DC2-4534-444F-B2A4-EC21C4097F1A}" type="presOf" srcId="{36045517-CEA4-4BE3-B836-C2B6BFE5649B}" destId="{182A42C9-E9CF-A141-834A-3F05F838D1A7}" srcOrd="0" destOrd="0" presId="urn:microsoft.com/office/officeart/2005/8/layout/hChevron3"/>
    <dgm:cxn modelId="{0D6EFCC2-FDF8-4F6E-9A5E-CA692745C16F}" srcId="{42D71409-67F9-455C-8C6D-716D284AAA6B}" destId="{0507EB23-E579-4478-95DE-8B3AF2785525}" srcOrd="0" destOrd="0" parTransId="{F3890ED8-B1A6-42C1-ACD6-91916746AB30}" sibTransId="{123B8FA7-F5AC-4574-A3AA-6A93B87ED425}"/>
    <dgm:cxn modelId="{63835FCB-F259-4C25-8657-052136F192D8}" srcId="{F66099B6-DBBD-4AB0-82D2-877B80F846F7}" destId="{62403018-E2A8-4BCD-A5CB-852ABBE7DB63}" srcOrd="1" destOrd="0" parTransId="{DBC92329-ECB9-4BAB-826B-867020D31D06}" sibTransId="{F8FA67A1-203D-4C58-BBBE-F741271D58A8}"/>
    <dgm:cxn modelId="{7CF965CB-6E73-8C40-A714-E58570D12267}" type="presOf" srcId="{F66099B6-DBBD-4AB0-82D2-877B80F846F7}" destId="{CE4FB90A-23D3-624D-9472-058615351CBF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AAFDC6CD-9789-4F2F-9856-AFA5819D6635}" type="presOf" srcId="{F120C875-C509-4081-87E6-6350904753BD}" destId="{06E132D3-40E2-204E-AF8C-A0D9B0AEDE48}" srcOrd="0" destOrd="4" presId="urn:microsoft.com/office/officeart/2005/8/layout/hChevron3"/>
    <dgm:cxn modelId="{701333CE-F8FE-470A-9DFD-70A4933969B2}" type="presOf" srcId="{F8E3A3B7-F438-45D5-A29C-F200999E4D00}" destId="{182A42C9-E9CF-A141-834A-3F05F838D1A7}" srcOrd="0" destOrd="1" presId="urn:microsoft.com/office/officeart/2005/8/layout/hChevron3"/>
    <dgm:cxn modelId="{8330F4DB-2FD0-423F-AB4F-95EACD0A5EE0}" srcId="{2A22E84C-3AA3-4E9C-AE5F-9C2FB0D7FB11}" destId="{F120C875-C509-4081-87E6-6350904753BD}" srcOrd="3" destOrd="0" parTransId="{2E0E720D-110C-4EE4-9D09-849E526553BD}" sibTransId="{4AE28C9C-610B-4512-A6F1-FEDBA241D3BF}"/>
    <dgm:cxn modelId="{BEB859E7-C343-408E-86A1-667C27EE5761}" srcId="{B9C32B05-62EA-407A-B21C-2310C7945705}" destId="{2A22E84C-3AA3-4E9C-AE5F-9C2FB0D7FB11}" srcOrd="2" destOrd="0" parTransId="{6C025E55-DF42-4C5D-AFD5-6015FA053D46}" sibTransId="{744EA591-F199-49C2-B63A-82709D96C729}"/>
    <dgm:cxn modelId="{BE9378EA-E4EB-4B11-9EC5-897E9C08EFC2}" type="presOf" srcId="{62403018-E2A8-4BCD-A5CB-852ABBE7DB63}" destId="{CE4FB90A-23D3-624D-9472-058615351CBF}" srcOrd="0" destOrd="2" presId="urn:microsoft.com/office/officeart/2005/8/layout/hChevron3"/>
    <dgm:cxn modelId="{DE6ACD62-BCE5-D54F-A6F6-A039788F89A4}" type="presParOf" srcId="{AB306E7F-BBFE-4840-97DE-4860B97247CD}" destId="{B9826503-FF9C-6249-9C5E-E871F59DF66E}" srcOrd="0" destOrd="0" presId="urn:microsoft.com/office/officeart/2005/8/layout/hChevron3"/>
    <dgm:cxn modelId="{69B8145E-251F-EE4F-ABCC-4048475C3A0B}" type="presParOf" srcId="{AB306E7F-BBFE-4840-97DE-4860B97247CD}" destId="{9E68C294-9D60-C64E-831C-8471394B08F2}" srcOrd="1" destOrd="0" presId="urn:microsoft.com/office/officeart/2005/8/layout/hChevron3"/>
    <dgm:cxn modelId="{446E00F2-6ACA-2F4D-AD09-C2B503BFF403}" type="presParOf" srcId="{AB306E7F-BBFE-4840-97DE-4860B97247CD}" destId="{CE4FB90A-23D3-624D-9472-058615351CBF}" srcOrd="2" destOrd="0" presId="urn:microsoft.com/office/officeart/2005/8/layout/hChevron3"/>
    <dgm:cxn modelId="{8A768791-3A2E-5E46-8EC8-7EB78D621572}" type="presParOf" srcId="{AB306E7F-BBFE-4840-97DE-4860B97247CD}" destId="{85FAA2A2-408F-4949-BE8D-AD37BDF00EDF}" srcOrd="3" destOrd="0" presId="urn:microsoft.com/office/officeart/2005/8/layout/hChevron3"/>
    <dgm:cxn modelId="{180A4A5F-14AD-1B4A-9A63-493764DC42F5}" type="presParOf" srcId="{AB306E7F-BBFE-4840-97DE-4860B97247CD}" destId="{06E132D3-40E2-204E-AF8C-A0D9B0AEDE48}" srcOrd="4" destOrd="0" presId="urn:microsoft.com/office/officeart/2005/8/layout/hChevron3"/>
    <dgm:cxn modelId="{6B7BD185-3558-7640-B604-34855655EFEF}" type="presParOf" srcId="{AB306E7F-BBFE-4840-97DE-4860B97247CD}" destId="{0533F1AC-E484-2A4A-87E0-4742A07FFE2C}" srcOrd="5" destOrd="0" presId="urn:microsoft.com/office/officeart/2005/8/layout/hChevron3"/>
    <dgm:cxn modelId="{D119BBE3-A07C-C14E-B21C-1D5467E28D9F}" type="presParOf" srcId="{AB306E7F-BBFE-4840-97DE-4860B97247CD}" destId="{182A42C9-E9CF-A141-834A-3F05F838D1A7}" srcOrd="6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D07E153-3888-644D-A9B8-F9068615EE7A}" type="doc">
      <dgm:prSet loTypeId="urn:microsoft.com/office/officeart/2005/8/layout/venn1" loCatId="" qsTypeId="urn:microsoft.com/office/officeart/2005/8/quickstyle/simple1" qsCatId="simple" csTypeId="urn:microsoft.com/office/officeart/2005/8/colors/accent1_2" csCatId="accent1" phldr="1"/>
      <dgm:spPr/>
    </dgm:pt>
    <dgm:pt modelId="{196D0429-1641-D64F-90B9-B783ED3EDFB5}">
      <dgm:prSet phldrT="[Text]" custT="1"/>
      <dgm:spPr>
        <a:solidFill>
          <a:schemeClr val="accent1">
            <a:lumMod val="20000"/>
            <a:lumOff val="80000"/>
            <a:alpha val="50000"/>
          </a:schemeClr>
        </a:solidFill>
      </dgm:spPr>
      <dgm:t>
        <a:bodyPr/>
        <a:lstStyle/>
        <a:p>
          <a:r>
            <a:rPr lang="de-DE" sz="2400" dirty="0"/>
            <a:t>TG 1</a:t>
          </a:r>
        </a:p>
      </dgm:t>
    </dgm:pt>
    <dgm:pt modelId="{C3672D15-394B-4542-817E-EC349032D992}" type="parTrans" cxnId="{04058BA1-476B-9741-9AF6-A99FD716F0F5}">
      <dgm:prSet/>
      <dgm:spPr/>
      <dgm:t>
        <a:bodyPr/>
        <a:lstStyle/>
        <a:p>
          <a:endParaRPr lang="de-DE"/>
        </a:p>
      </dgm:t>
    </dgm:pt>
    <dgm:pt modelId="{C92FB1E9-2E04-944E-B839-62125BD5F12C}" type="sibTrans" cxnId="{04058BA1-476B-9741-9AF6-A99FD716F0F5}">
      <dgm:prSet/>
      <dgm:spPr/>
      <dgm:t>
        <a:bodyPr/>
        <a:lstStyle/>
        <a:p>
          <a:endParaRPr lang="de-DE"/>
        </a:p>
      </dgm:t>
    </dgm:pt>
    <dgm:pt modelId="{4EB75081-F904-9842-8D49-50867C968944}">
      <dgm:prSet phldrT="[Text]" custT="1"/>
      <dgm:spPr>
        <a:solidFill>
          <a:schemeClr val="accent1">
            <a:lumMod val="20000"/>
            <a:lumOff val="80000"/>
            <a:alpha val="50000"/>
          </a:schemeClr>
        </a:solidFill>
      </dgm:spPr>
      <dgm:t>
        <a:bodyPr/>
        <a:lstStyle/>
        <a:p>
          <a:r>
            <a:rPr lang="de-DE" sz="2400" dirty="0"/>
            <a:t>TG 2</a:t>
          </a:r>
        </a:p>
      </dgm:t>
    </dgm:pt>
    <dgm:pt modelId="{1A7ACCEB-F755-884A-94C8-65D6851C3458}" type="parTrans" cxnId="{FAFD94B0-7F48-E945-8A5E-D8C4EADE8342}">
      <dgm:prSet/>
      <dgm:spPr/>
      <dgm:t>
        <a:bodyPr/>
        <a:lstStyle/>
        <a:p>
          <a:endParaRPr lang="de-DE"/>
        </a:p>
      </dgm:t>
    </dgm:pt>
    <dgm:pt modelId="{3CAB54C7-9C80-7045-9D36-339F1CDA1155}" type="sibTrans" cxnId="{FAFD94B0-7F48-E945-8A5E-D8C4EADE8342}">
      <dgm:prSet/>
      <dgm:spPr/>
      <dgm:t>
        <a:bodyPr/>
        <a:lstStyle/>
        <a:p>
          <a:endParaRPr lang="de-DE"/>
        </a:p>
      </dgm:t>
    </dgm:pt>
    <dgm:pt modelId="{7355A920-3D51-1642-A5DE-572228705FA8}">
      <dgm:prSet phldrT="[Text]" custT="1"/>
      <dgm:spPr>
        <a:solidFill>
          <a:schemeClr val="accent5">
            <a:lumMod val="20000"/>
            <a:lumOff val="80000"/>
            <a:alpha val="68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2400" dirty="0"/>
            <a:t>WG-CE</a:t>
          </a:r>
        </a:p>
      </dgm:t>
    </dgm:pt>
    <dgm:pt modelId="{10D5C7DF-D9BA-EF4A-ABF7-54F041C97112}" type="sibTrans" cxnId="{BB841C2B-227F-B74C-A0ED-D780FCF749FC}">
      <dgm:prSet/>
      <dgm:spPr/>
      <dgm:t>
        <a:bodyPr/>
        <a:lstStyle/>
        <a:p>
          <a:endParaRPr lang="de-DE"/>
        </a:p>
      </dgm:t>
    </dgm:pt>
    <dgm:pt modelId="{9621F899-5D7C-CB49-A207-080852025638}" type="parTrans" cxnId="{BB841C2B-227F-B74C-A0ED-D780FCF749FC}">
      <dgm:prSet/>
      <dgm:spPr/>
      <dgm:t>
        <a:bodyPr/>
        <a:lstStyle/>
        <a:p>
          <a:endParaRPr lang="de-DE"/>
        </a:p>
      </dgm:t>
    </dgm:pt>
    <dgm:pt modelId="{8F13E435-85DD-074E-BB27-A653A72D50F8}">
      <dgm:prSet custT="1"/>
      <dgm:spPr>
        <a:solidFill>
          <a:schemeClr val="accent1">
            <a:lumMod val="20000"/>
            <a:lumOff val="80000"/>
            <a:alpha val="5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2400" dirty="0"/>
            <a:t>TG 3</a:t>
          </a:r>
        </a:p>
      </dgm:t>
    </dgm:pt>
    <dgm:pt modelId="{6F2F7276-764E-A84B-AADD-E6A821644F74}" type="parTrans" cxnId="{39C66E7B-49A3-1846-959F-5D0022BF5A5F}">
      <dgm:prSet/>
      <dgm:spPr/>
      <dgm:t>
        <a:bodyPr/>
        <a:lstStyle/>
        <a:p>
          <a:endParaRPr lang="de-DE"/>
        </a:p>
      </dgm:t>
    </dgm:pt>
    <dgm:pt modelId="{1A6E3990-FD0E-7D42-B16F-984662E362E3}" type="sibTrans" cxnId="{39C66E7B-49A3-1846-959F-5D0022BF5A5F}">
      <dgm:prSet/>
      <dgm:spPr/>
      <dgm:t>
        <a:bodyPr/>
        <a:lstStyle/>
        <a:p>
          <a:endParaRPr lang="de-DE"/>
        </a:p>
      </dgm:t>
    </dgm:pt>
    <dgm:pt modelId="{20C3E445-74D4-C045-810F-E191743EDDA6}" type="pres">
      <dgm:prSet presAssocID="{4D07E153-3888-644D-A9B8-F9068615EE7A}" presName="compositeShape" presStyleCnt="0">
        <dgm:presLayoutVars>
          <dgm:chMax val="7"/>
          <dgm:dir/>
          <dgm:resizeHandles val="exact"/>
        </dgm:presLayoutVars>
      </dgm:prSet>
      <dgm:spPr/>
    </dgm:pt>
    <dgm:pt modelId="{283E0A6D-246C-4541-B7DE-79439158D3D3}" type="pres">
      <dgm:prSet presAssocID="{7355A920-3D51-1642-A5DE-572228705FA8}" presName="circ1" presStyleLbl="vennNode1" presStyleIdx="0" presStyleCnt="4"/>
      <dgm:spPr/>
    </dgm:pt>
    <dgm:pt modelId="{12692C44-BEB1-8247-8E1B-79FAAA9E36FF}" type="pres">
      <dgm:prSet presAssocID="{7355A920-3D51-1642-A5DE-572228705FA8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6DAFACA7-97F6-B04A-B6C0-24E47807E07C}" type="pres">
      <dgm:prSet presAssocID="{196D0429-1641-D64F-90B9-B783ED3EDFB5}" presName="circ2" presStyleLbl="vennNode1" presStyleIdx="1" presStyleCnt="4"/>
      <dgm:spPr/>
    </dgm:pt>
    <dgm:pt modelId="{7333EC51-F186-CE49-8CEA-5E9366E6BD34}" type="pres">
      <dgm:prSet presAssocID="{196D0429-1641-D64F-90B9-B783ED3EDFB5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8949562C-4929-7A4F-8392-6DC1862D62DF}" type="pres">
      <dgm:prSet presAssocID="{4EB75081-F904-9842-8D49-50867C968944}" presName="circ3" presStyleLbl="vennNode1" presStyleIdx="2" presStyleCnt="4"/>
      <dgm:spPr/>
    </dgm:pt>
    <dgm:pt modelId="{9A1E2754-D12C-7447-8450-981ACB8587F7}" type="pres">
      <dgm:prSet presAssocID="{4EB75081-F904-9842-8D49-50867C968944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31399BDC-3EF0-8E42-AE51-863CFAC06D14}" type="pres">
      <dgm:prSet presAssocID="{8F13E435-85DD-074E-BB27-A653A72D50F8}" presName="circ4" presStyleLbl="vennNode1" presStyleIdx="3" presStyleCnt="4"/>
      <dgm:spPr/>
    </dgm:pt>
    <dgm:pt modelId="{654ACE9B-035C-814C-88F4-30CDD2C97287}" type="pres">
      <dgm:prSet presAssocID="{8F13E435-85DD-074E-BB27-A653A72D50F8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BB841C2B-227F-B74C-A0ED-D780FCF749FC}" srcId="{4D07E153-3888-644D-A9B8-F9068615EE7A}" destId="{7355A920-3D51-1642-A5DE-572228705FA8}" srcOrd="0" destOrd="0" parTransId="{9621F899-5D7C-CB49-A207-080852025638}" sibTransId="{10D5C7DF-D9BA-EF4A-ABF7-54F041C97112}"/>
    <dgm:cxn modelId="{820EFC31-B1FD-FB48-9901-62D7001440CF}" type="presOf" srcId="{7355A920-3D51-1642-A5DE-572228705FA8}" destId="{283E0A6D-246C-4541-B7DE-79439158D3D3}" srcOrd="0" destOrd="0" presId="urn:microsoft.com/office/officeart/2005/8/layout/venn1"/>
    <dgm:cxn modelId="{AE227555-7B0B-034E-A7FD-8C2CD5ECF80B}" type="presOf" srcId="{196D0429-1641-D64F-90B9-B783ED3EDFB5}" destId="{6DAFACA7-97F6-B04A-B6C0-24E47807E07C}" srcOrd="0" destOrd="0" presId="urn:microsoft.com/office/officeart/2005/8/layout/venn1"/>
    <dgm:cxn modelId="{0BB10377-8405-D34A-BE48-ED77D31FF886}" type="presOf" srcId="{196D0429-1641-D64F-90B9-B783ED3EDFB5}" destId="{7333EC51-F186-CE49-8CEA-5E9366E6BD34}" srcOrd="1" destOrd="0" presId="urn:microsoft.com/office/officeart/2005/8/layout/venn1"/>
    <dgm:cxn modelId="{3F221E58-72C8-344D-8187-950E8C69C11E}" type="presOf" srcId="{7355A920-3D51-1642-A5DE-572228705FA8}" destId="{12692C44-BEB1-8247-8E1B-79FAAA9E36FF}" srcOrd="1" destOrd="0" presId="urn:microsoft.com/office/officeart/2005/8/layout/venn1"/>
    <dgm:cxn modelId="{3D475C79-9BA7-E548-A1A4-5551E67F719D}" type="presOf" srcId="{8F13E435-85DD-074E-BB27-A653A72D50F8}" destId="{654ACE9B-035C-814C-88F4-30CDD2C97287}" srcOrd="1" destOrd="0" presId="urn:microsoft.com/office/officeart/2005/8/layout/venn1"/>
    <dgm:cxn modelId="{39C66E7B-49A3-1846-959F-5D0022BF5A5F}" srcId="{4D07E153-3888-644D-A9B8-F9068615EE7A}" destId="{8F13E435-85DD-074E-BB27-A653A72D50F8}" srcOrd="3" destOrd="0" parTransId="{6F2F7276-764E-A84B-AADD-E6A821644F74}" sibTransId="{1A6E3990-FD0E-7D42-B16F-984662E362E3}"/>
    <dgm:cxn modelId="{CA9BAC89-CA46-A641-948B-C168C69B26A1}" type="presOf" srcId="{4EB75081-F904-9842-8D49-50867C968944}" destId="{8949562C-4929-7A4F-8392-6DC1862D62DF}" srcOrd="0" destOrd="0" presId="urn:microsoft.com/office/officeart/2005/8/layout/venn1"/>
    <dgm:cxn modelId="{04058BA1-476B-9741-9AF6-A99FD716F0F5}" srcId="{4D07E153-3888-644D-A9B8-F9068615EE7A}" destId="{196D0429-1641-D64F-90B9-B783ED3EDFB5}" srcOrd="1" destOrd="0" parTransId="{C3672D15-394B-4542-817E-EC349032D992}" sibTransId="{C92FB1E9-2E04-944E-B839-62125BD5F12C}"/>
    <dgm:cxn modelId="{1F7880AE-FE8B-0542-9165-F62C811D9269}" type="presOf" srcId="{4EB75081-F904-9842-8D49-50867C968944}" destId="{9A1E2754-D12C-7447-8450-981ACB8587F7}" srcOrd="1" destOrd="0" presId="urn:microsoft.com/office/officeart/2005/8/layout/venn1"/>
    <dgm:cxn modelId="{FAFD94B0-7F48-E945-8A5E-D8C4EADE8342}" srcId="{4D07E153-3888-644D-A9B8-F9068615EE7A}" destId="{4EB75081-F904-9842-8D49-50867C968944}" srcOrd="2" destOrd="0" parTransId="{1A7ACCEB-F755-884A-94C8-65D6851C3458}" sibTransId="{3CAB54C7-9C80-7045-9D36-339F1CDA1155}"/>
    <dgm:cxn modelId="{0D638BCF-1F04-DD4E-9830-DBD745DDB1AC}" type="presOf" srcId="{4D07E153-3888-644D-A9B8-F9068615EE7A}" destId="{20C3E445-74D4-C045-810F-E191743EDDA6}" srcOrd="0" destOrd="0" presId="urn:microsoft.com/office/officeart/2005/8/layout/venn1"/>
    <dgm:cxn modelId="{3692A3FA-A6C7-C946-AA9E-9FDFC1DECAB2}" type="presOf" srcId="{8F13E435-85DD-074E-BB27-A653A72D50F8}" destId="{31399BDC-3EF0-8E42-AE51-863CFAC06D14}" srcOrd="0" destOrd="0" presId="urn:microsoft.com/office/officeart/2005/8/layout/venn1"/>
    <dgm:cxn modelId="{5226B476-D293-3D4D-9F86-7FDA1D88A160}" type="presParOf" srcId="{20C3E445-74D4-C045-810F-E191743EDDA6}" destId="{283E0A6D-246C-4541-B7DE-79439158D3D3}" srcOrd="0" destOrd="0" presId="urn:microsoft.com/office/officeart/2005/8/layout/venn1"/>
    <dgm:cxn modelId="{59E3F721-FAD1-2E4E-963A-D42ADA9EE9B5}" type="presParOf" srcId="{20C3E445-74D4-C045-810F-E191743EDDA6}" destId="{12692C44-BEB1-8247-8E1B-79FAAA9E36FF}" srcOrd="1" destOrd="0" presId="urn:microsoft.com/office/officeart/2005/8/layout/venn1"/>
    <dgm:cxn modelId="{3B59B2D5-8767-C64F-B66C-5F76B41388C1}" type="presParOf" srcId="{20C3E445-74D4-C045-810F-E191743EDDA6}" destId="{6DAFACA7-97F6-B04A-B6C0-24E47807E07C}" srcOrd="2" destOrd="0" presId="urn:microsoft.com/office/officeart/2005/8/layout/venn1"/>
    <dgm:cxn modelId="{8A8EE144-82DF-EC40-B2BF-0A3E81108228}" type="presParOf" srcId="{20C3E445-74D4-C045-810F-E191743EDDA6}" destId="{7333EC51-F186-CE49-8CEA-5E9366E6BD34}" srcOrd="3" destOrd="0" presId="urn:microsoft.com/office/officeart/2005/8/layout/venn1"/>
    <dgm:cxn modelId="{445B367B-AEFF-A840-90BB-00C2F2085CD9}" type="presParOf" srcId="{20C3E445-74D4-C045-810F-E191743EDDA6}" destId="{8949562C-4929-7A4F-8392-6DC1862D62DF}" srcOrd="4" destOrd="0" presId="urn:microsoft.com/office/officeart/2005/8/layout/venn1"/>
    <dgm:cxn modelId="{74A65669-ECDA-BA4A-972A-C7B1EB5CFED9}" type="presParOf" srcId="{20C3E445-74D4-C045-810F-E191743EDDA6}" destId="{9A1E2754-D12C-7447-8450-981ACB8587F7}" srcOrd="5" destOrd="0" presId="urn:microsoft.com/office/officeart/2005/8/layout/venn1"/>
    <dgm:cxn modelId="{6FE3D8F0-92AC-C846-9038-24128925A9AC}" type="presParOf" srcId="{20C3E445-74D4-C045-810F-E191743EDDA6}" destId="{31399BDC-3EF0-8E42-AE51-863CFAC06D14}" srcOrd="6" destOrd="0" presId="urn:microsoft.com/office/officeart/2005/8/layout/venn1"/>
    <dgm:cxn modelId="{6775B324-2CB2-D54C-BD38-8671B37E7CA0}" type="presParOf" srcId="{20C3E445-74D4-C045-810F-E191743EDDA6}" destId="{654ACE9B-035C-814C-88F4-30CDD2C97287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503-FF9C-6249-9C5E-E871F59DF66E}">
      <dsp:nvSpPr>
        <dsp:cNvPr id="0" name=""/>
        <dsp:cNvSpPr/>
      </dsp:nvSpPr>
      <dsp:spPr>
        <a:xfrm>
          <a:off x="2523" y="1221562"/>
          <a:ext cx="2531697" cy="2025357"/>
        </a:xfrm>
        <a:prstGeom prst="homePlate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357251" bIns="45720" numCol="1" spcCol="1270" anchor="t" anchorCtr="0">
          <a:noAutofit/>
        </a:bodyPr>
        <a:lstStyle/>
        <a:p>
          <a:pPr marL="0" lvl="0" indent="0" algn="l" defTabSz="8001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Frutiger LT Com 65 Bold" panose="020B0803030504020204" pitchFamily="34" charset="0"/>
            </a:rPr>
            <a:t>2020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Oct: Inaugural workshop </a:t>
          </a:r>
        </a:p>
        <a:p>
          <a:pPr marL="180975" lvl="1" indent="-180975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Dec: Meeting</a:t>
          </a:r>
        </a:p>
      </dsp:txBody>
      <dsp:txXfrm>
        <a:off x="2523" y="1221562"/>
        <a:ext cx="2278527" cy="2025357"/>
      </dsp:txXfrm>
    </dsp:sp>
    <dsp:sp modelId="{CE4FB90A-23D3-624D-9472-058615351CBF}">
      <dsp:nvSpPr>
        <dsp:cNvPr id="0" name=""/>
        <dsp:cNvSpPr/>
      </dsp:nvSpPr>
      <dsp:spPr>
        <a:xfrm>
          <a:off x="2029086" y="1221562"/>
          <a:ext cx="2531697" cy="2025357"/>
        </a:xfrm>
        <a:prstGeom prst="chevron">
          <a:avLst>
            <a:gd name="adj" fmla="val 25000"/>
          </a:avLst>
        </a:prstGeom>
        <a:solidFill>
          <a:schemeClr val="accent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9313" tIns="180000" rIns="89313" bIns="45720" numCol="1" spcCol="1270" anchor="t" anchorCtr="0">
          <a:noAutofit/>
        </a:bodyPr>
        <a:lstStyle/>
        <a:p>
          <a:pPr marL="0" lvl="0" indent="0" algn="l" defTabSz="8001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Frutiger LT Com 65 Bold" panose="020B0803030504020204" pitchFamily="34" charset="0"/>
            </a:rPr>
            <a:t>2021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Mar: LMIC meeting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Apr: Review  &amp; meeting 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Sep: Review 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Nov: Meeting</a:t>
          </a:r>
        </a:p>
      </dsp:txBody>
      <dsp:txXfrm>
        <a:off x="2535425" y="1221562"/>
        <a:ext cx="1519019" cy="2025357"/>
      </dsp:txXfrm>
    </dsp:sp>
    <dsp:sp modelId="{06E132D3-40E2-204E-AF8C-A0D9B0AEDE48}">
      <dsp:nvSpPr>
        <dsp:cNvPr id="0" name=""/>
        <dsp:cNvSpPr/>
      </dsp:nvSpPr>
      <dsp:spPr>
        <a:xfrm>
          <a:off x="4057330" y="1221562"/>
          <a:ext cx="2531697" cy="2025357"/>
        </a:xfrm>
        <a:prstGeom prst="chevron">
          <a:avLst>
            <a:gd name="adj" fmla="val 25000"/>
          </a:avLst>
        </a:prstGeom>
        <a:solidFill>
          <a:schemeClr val="accent4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9313" tIns="180000" rIns="89313" bIns="45720" numCol="1" spcCol="1270" anchor="t" anchorCtr="0">
          <a:noAutofit/>
        </a:bodyPr>
        <a:lstStyle/>
        <a:p>
          <a:pPr marL="0" lvl="0" indent="0" algn="l" defTabSz="8001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Frutiger LT Com 65 Bold" panose="020B0803030504020204" pitchFamily="34" charset="0"/>
            </a:rPr>
            <a:t>2022</a:t>
          </a:r>
          <a:endParaRPr lang="en-US" sz="1800" kern="1200" dirty="0"/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Sep: WHO clearance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Oct: Meeting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Oct/Nov: Follow up meetings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 dirty="0">
            <a:solidFill>
              <a:schemeClr val="bg1"/>
            </a:solidFill>
          </a:endParaRPr>
        </a:p>
      </dsp:txBody>
      <dsp:txXfrm>
        <a:off x="4563669" y="1221562"/>
        <a:ext cx="1519019" cy="2025357"/>
      </dsp:txXfrm>
    </dsp:sp>
    <dsp:sp modelId="{182A42C9-E9CF-A141-834A-3F05F838D1A7}">
      <dsp:nvSpPr>
        <dsp:cNvPr id="0" name=""/>
        <dsp:cNvSpPr/>
      </dsp:nvSpPr>
      <dsp:spPr>
        <a:xfrm>
          <a:off x="6081119" y="1221562"/>
          <a:ext cx="2531697" cy="2025357"/>
        </a:xfrm>
        <a:prstGeom prst="chevron">
          <a:avLst>
            <a:gd name="adj" fmla="val 25000"/>
          </a:avLst>
        </a:prstGeom>
        <a:solidFill>
          <a:schemeClr val="accent5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3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9313" tIns="180000" rIns="89313" bIns="45720" numCol="1" spcCol="1270" anchor="t" anchorCtr="0">
          <a:noAutofit/>
        </a:bodyPr>
        <a:lstStyle/>
        <a:p>
          <a:pPr marL="0" lvl="0" indent="0" algn="l" defTabSz="8001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2023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Jan &amp; Feb: FG approval</a:t>
          </a:r>
        </a:p>
        <a:p>
          <a:pPr marL="180000" lvl="1" indent="-180000" algn="l" defTabSz="5334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200" kern="1200" dirty="0">
              <a:solidFill>
                <a:schemeClr val="bg1"/>
              </a:solidFill>
            </a:rPr>
            <a:t>Publications ITU, WHO (ongoing clearance)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None/>
            <a:tabLst/>
          </a:pPr>
          <a:endParaRPr lang="en-US" sz="1400" kern="1200" dirty="0">
            <a:solidFill>
              <a:schemeClr val="bg1"/>
            </a:solidFill>
          </a:endParaRPr>
        </a:p>
      </dsp:txBody>
      <dsp:txXfrm>
        <a:off x="6587458" y="1221562"/>
        <a:ext cx="1519019" cy="20253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3E0A6D-246C-4541-B7DE-79439158D3D3}">
      <dsp:nvSpPr>
        <dsp:cNvPr id="0" name=""/>
        <dsp:cNvSpPr/>
      </dsp:nvSpPr>
      <dsp:spPr>
        <a:xfrm>
          <a:off x="1478383" y="31968"/>
          <a:ext cx="1662359" cy="1662359"/>
        </a:xfrm>
        <a:prstGeom prst="ellipse">
          <a:avLst/>
        </a:prstGeom>
        <a:solidFill>
          <a:schemeClr val="accent5">
            <a:lumMod val="20000"/>
            <a:lumOff val="80000"/>
            <a:alpha val="68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WG-CE</a:t>
          </a:r>
        </a:p>
      </dsp:txBody>
      <dsp:txXfrm>
        <a:off x="1670194" y="255747"/>
        <a:ext cx="1278738" cy="527479"/>
      </dsp:txXfrm>
    </dsp:sp>
    <dsp:sp modelId="{6DAFACA7-97F6-B04A-B6C0-24E47807E07C}">
      <dsp:nvSpPr>
        <dsp:cNvPr id="0" name=""/>
        <dsp:cNvSpPr/>
      </dsp:nvSpPr>
      <dsp:spPr>
        <a:xfrm>
          <a:off x="2213658" y="767243"/>
          <a:ext cx="1662359" cy="1662359"/>
        </a:xfrm>
        <a:prstGeom prst="ellipse">
          <a:avLst/>
        </a:prstGeom>
        <a:solidFill>
          <a:schemeClr val="accent1">
            <a:lumMod val="20000"/>
            <a:lumOff val="8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G 1</a:t>
          </a:r>
        </a:p>
      </dsp:txBody>
      <dsp:txXfrm>
        <a:off x="3108774" y="959053"/>
        <a:ext cx="639369" cy="1278738"/>
      </dsp:txXfrm>
    </dsp:sp>
    <dsp:sp modelId="{8949562C-4929-7A4F-8392-6DC1862D62DF}">
      <dsp:nvSpPr>
        <dsp:cNvPr id="0" name=""/>
        <dsp:cNvSpPr/>
      </dsp:nvSpPr>
      <dsp:spPr>
        <a:xfrm>
          <a:off x="1478383" y="1502517"/>
          <a:ext cx="1662359" cy="1662359"/>
        </a:xfrm>
        <a:prstGeom prst="ellipse">
          <a:avLst/>
        </a:prstGeom>
        <a:solidFill>
          <a:schemeClr val="accent1">
            <a:lumMod val="20000"/>
            <a:lumOff val="8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G 2</a:t>
          </a:r>
        </a:p>
      </dsp:txBody>
      <dsp:txXfrm>
        <a:off x="1670194" y="2413618"/>
        <a:ext cx="1278738" cy="527479"/>
      </dsp:txXfrm>
    </dsp:sp>
    <dsp:sp modelId="{31399BDC-3EF0-8E42-AE51-863CFAC06D14}">
      <dsp:nvSpPr>
        <dsp:cNvPr id="0" name=""/>
        <dsp:cNvSpPr/>
      </dsp:nvSpPr>
      <dsp:spPr>
        <a:xfrm>
          <a:off x="743108" y="767243"/>
          <a:ext cx="1662359" cy="1662359"/>
        </a:xfrm>
        <a:prstGeom prst="ellipse">
          <a:avLst/>
        </a:prstGeom>
        <a:solidFill>
          <a:schemeClr val="accent1">
            <a:lumMod val="20000"/>
            <a:lumOff val="80000"/>
            <a:alpha val="50000"/>
          </a:schemeClr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kern="1200" dirty="0"/>
            <a:t>TG 3</a:t>
          </a:r>
        </a:p>
      </dsp:txBody>
      <dsp:txXfrm>
        <a:off x="870982" y="959053"/>
        <a:ext cx="639369" cy="12787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SzPts val="1000"/>
              <a:buFont typeface="Symbol" pitchFamily="2" charset="2"/>
              <a:buChar char=""/>
              <a:tabLst>
                <a:tab pos="457200" algn="l"/>
              </a:tabLst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21755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2733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4138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effectLst/>
              <a:latin typeface="Segoe UI" panose="020B0502040204020203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395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39669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833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46" indent="-171446">
              <a:buFont typeface="Symbol" pitchFamily="2" charset="2"/>
              <a:buChar char="-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71446" indent="-171446">
              <a:buFont typeface="Symbol" pitchFamily="2" charset="2"/>
              <a:buChar char="-"/>
            </a:pPr>
            <a:endParaRPr lang="de-D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98045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buClr>
                <a:schemeClr val="tx1"/>
              </a:buClr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1786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12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2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4296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597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8201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3800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0926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9542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03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speaker/date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66540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speaker/date</a:t>
            </a:r>
            <a:endParaRPr lang="de-DE" dirty="0"/>
          </a:p>
          <a:p>
            <a:pPr lvl="3"/>
            <a:r>
              <a:rPr lang="de-DE"/>
              <a:t>Speakers</a:t>
            </a:r>
            <a:endParaRPr lang="de-DE" dirty="0"/>
          </a:p>
        </p:txBody>
      </p:sp>
      <p:pic>
        <p:nvPicPr>
          <p:cNvPr id="7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32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01FDCC-3625-47DD-BF00-48818FFA896C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1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195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E2D82BB-1548-4144-8D76-C0C431EF1240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033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0D18CF-581D-4AFD-A78B-7C1FC7A80373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685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99EC068-F541-4312-9801-35A60A69C50F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7804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EAC3F2-7FFD-4AA3-B399-D80547284A97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42535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49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2583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E878C98-6804-4E74-85B1-6C6481F1CF28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77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EE5FE33-A688-4E76-84C7-6AE86CD5F545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741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204942E-612F-4452-A98C-BE30675D1CEF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8652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14819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C6F8B1-0014-4786-95CD-E23A6A3E9223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63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EE1E0F-D989-42C4-92E6-60E1F72C6632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743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0AB7944-2EB8-466B-9E10-D3B91768B66B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2002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A788E46-7811-4140-88F1-4CEFBE174CF8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8777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Quote </a:t>
            </a:r>
            <a:endParaRPr lang="de-DE" dirty="0"/>
          </a:p>
          <a:p>
            <a:pPr lvl="1"/>
            <a:r>
              <a:rPr lang="de-DE"/>
              <a:t>Author name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F4221C-C993-4597-8EE6-9265DA695E8C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90781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18795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Quote </a:t>
            </a:r>
            <a:endParaRPr lang="de-DE" dirty="0"/>
          </a:p>
          <a:p>
            <a:pPr lvl="1"/>
            <a:r>
              <a:rPr lang="de-DE"/>
              <a:t>Author name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0EB7DE-D69A-47F7-8C66-AE1D971DBC2D}" type="datetime1">
              <a:rPr lang="de-DE" noProof="0" smtClean="0"/>
              <a:t>05.07.2023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 HHI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35116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0038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hhi.fraunhofer.de</a:t>
            </a:r>
          </a:p>
        </p:txBody>
      </p:sp>
      <p:pic>
        <p:nvPicPr>
          <p:cNvPr id="6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4693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aseline="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Contact 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en-US"/>
              <a:t>Title first name last name</a:t>
            </a:r>
            <a:endParaRPr lang="de-DE" dirty="0"/>
          </a:p>
          <a:p>
            <a:pPr lvl="2"/>
            <a:r>
              <a:rPr lang="de-DE"/>
              <a:t>Business unit XXX 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hhi.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-Institut für Nachrichtentechnik, Heinrich-Hertz-Institut, HHI</a:t>
            </a:r>
          </a:p>
          <a:p>
            <a:pPr lvl="3"/>
            <a:r>
              <a:rPr lang="pt-BR" dirty="0"/>
              <a:t>Einsteinufer 37</a:t>
            </a:r>
          </a:p>
          <a:p>
            <a:pPr lvl="3"/>
            <a:r>
              <a:rPr lang="pt-BR" dirty="0"/>
              <a:t>10587 Berlin</a:t>
            </a:r>
          </a:p>
          <a:p>
            <a:pPr lvl="3"/>
            <a:r>
              <a:rPr lang="pt-BR" dirty="0"/>
              <a:t>www.hhi.fraunhofer.de</a:t>
            </a:r>
          </a:p>
        </p:txBody>
      </p:sp>
      <p:pic>
        <p:nvPicPr>
          <p:cNvPr id="7" name="hhi_rgb_modul_send_de">
            <a:extLst>
              <a:ext uri="{FF2B5EF4-FFF2-40B4-BE49-F238E27FC236}">
                <a16:creationId xmlns:a16="http://schemas.microsoft.com/office/drawing/2014/main" id="{EA7D95FB-CC13-4DE1-98F6-0910C037710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842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38992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Thank you for your attention!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4001643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7/5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40626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Section separato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CB5F8BD-F61A-4905-819A-501002AE1553}" type="datetime1">
              <a:rPr lang="de-DE" noProof="0" smtClean="0"/>
              <a:t>05.07.2023</a:t>
            </a:fld>
            <a:endParaRPr lang="de-DE" noProof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Page</a:t>
            </a:r>
          </a:p>
        </p:txBody>
      </p:sp>
    </p:spTree>
    <p:extLst>
      <p:ext uri="{BB962C8B-B14F-4D97-AF65-F5344CB8AC3E}">
        <p14:creationId xmlns:p14="http://schemas.microsoft.com/office/powerpoint/2010/main" val="1090194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eicken@hhi.fraunhofer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healthitanalytics.com/news/fda-evaluations-of-medical-ai-devices-show-limitations" TargetMode="External"/><Relationship Id="rId3" Type="http://schemas.openxmlformats.org/officeDocument/2006/relationships/image" Target="../media/image5.png"/><Relationship Id="rId7" Type="http://schemas.openxmlformats.org/officeDocument/2006/relationships/hyperlink" Target="https://doi.org/10.1038/s42256-021-00307-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hyperlink" Target="https://www.technologyreview.com/2020/04/27/1000658/google-medical-ai-accurate-lab-real-life-clinic-covid-diabetes-retina-disease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016/S2589-7500(22)00003-6" TargetMode="External"/><Relationship Id="rId13" Type="http://schemas.openxmlformats.org/officeDocument/2006/relationships/image" Target="../media/image17.png"/><Relationship Id="rId3" Type="http://schemas.openxmlformats.org/officeDocument/2006/relationships/image" Target="../media/image5.png"/><Relationship Id="rId7" Type="http://schemas.openxmlformats.org/officeDocument/2006/relationships/image" Target="../media/image15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4.png"/><Relationship Id="rId11" Type="http://schemas.openxmlformats.org/officeDocument/2006/relationships/hyperlink" Target="https://doi.org/10.2196/31623" TargetMode="External"/><Relationship Id="rId5" Type="http://schemas.openxmlformats.org/officeDocument/2006/relationships/image" Target="../media/image13.png"/><Relationship Id="rId15" Type="http://schemas.openxmlformats.org/officeDocument/2006/relationships/hyperlink" Target="https://openknowledge.worldbank.org/server/api/core/bitstreams/f8d4714e-44f5-43b1-bcc3-798cd0d85c9f/content" TargetMode="External"/><Relationship Id="rId10" Type="http://schemas.openxmlformats.org/officeDocument/2006/relationships/hyperlink" Target="https://doi.org/10.1016/S2589-7500(20)30317-4" TargetMode="External"/><Relationship Id="rId4" Type="http://schemas.openxmlformats.org/officeDocument/2006/relationships/image" Target="../media/image12.png"/><Relationship Id="rId9" Type="http://schemas.openxmlformats.org/officeDocument/2006/relationships/hyperlink" Target="https://doi.org/10.1038/s41591-020-0941-1" TargetMode="External"/><Relationship Id="rId14" Type="http://schemas.openxmlformats.org/officeDocument/2006/relationships/hyperlink" Target="https://doi.org/10.1038/s41591-020-1037-7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823032" y="845674"/>
            <a:ext cx="19447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S-050-A0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8532568" y="1215006"/>
            <a:ext cx="22351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Geneva, 3-5 July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596525"/>
              </p:ext>
            </p:extLst>
          </p:nvPr>
        </p:nvGraphicFramePr>
        <p:xfrm>
          <a:off x="1424267" y="3274055"/>
          <a:ext cx="9343465" cy="17145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866469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979617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WG-CE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.1 - Presentation - WG-Clinical Evaluation of AI for Health 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va Weicken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US" sz="1800" dirty="0">
                          <a:hlinkClick r:id="rId3"/>
                        </a:rPr>
                        <a:t>eva.weicken@hhi.fraunhofer.de</a:t>
                      </a:r>
                      <a:r>
                        <a:rPr lang="en-US" sz="1800" dirty="0"/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PPT contains a presentation on </a:t>
                      </a:r>
                      <a:r>
                        <a:rPr lang="en-GB" sz="1800" dirty="0"/>
                        <a:t>Working Group "Clinical Evaluation of AI for Health“ given during AI for Health Workshop on 5 July 2023</a:t>
                      </a:r>
                      <a:r>
                        <a:rPr lang="en-US" sz="1800" dirty="0"/>
                        <a:t>.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Integration in the ITU-WHO-WIPO Global Initiative (GI)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orking Group on Clinical Evaluation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936B5FB6-5AB4-E635-EF0B-C10688B3A40D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77E0A4C-D908-6460-0A95-E29B888E2910}"/>
              </a:ext>
            </a:extLst>
          </p:cNvPr>
          <p:cNvSpPr txBox="1">
            <a:spLocks/>
          </p:cNvSpPr>
          <p:nvPr/>
        </p:nvSpPr>
        <p:spPr bwMode="gray">
          <a:xfrm>
            <a:off x="479425" y="1384996"/>
            <a:ext cx="10865260" cy="496148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Times New Roman"/>
              </a:rPr>
              <a:t>In considering the move to a GI, the group suggests the following for consideration: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The future structure of the GI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need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 to serve the purpose and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addres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the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mos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press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problem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for the WHO/ITU stakeholders. Clinical evaluatio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ma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 not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requir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a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standalon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 stream of work 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mov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forwar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00"/>
              </a:spcAft>
              <a:buClrTx/>
              <a:buSzTx/>
              <a:buFont typeface="Courier New,monospace" panose="02070309020205020404" pitchFamily="49" charset="0"/>
              <a:buChar char="o"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Ther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remain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som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topics for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define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 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area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of future research: economic evaluation, implementation (relevance for health ministries),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applicabilit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for LLMs?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00"/>
              </a:spcAft>
              <a:buClrTx/>
              <a:buSzTx/>
              <a:buFont typeface="Courier New,monospace" panose="02070309020205020404" pitchFamily="49" charset="0"/>
              <a:buChar char="o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Implementation of the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bes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practic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recommendation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for evaluation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remain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a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ke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outstand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challeng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.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Idea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to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address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 this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includ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/>
              </a:rPr>
              <a:t>:</a:t>
            </a:r>
          </a:p>
          <a:p>
            <a:pPr marL="465455" marR="0" lvl="3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Calibri"/>
                <a:cs typeface="Times New Roman"/>
              </a:rPr>
              <a:t>Development of an (online) course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65455" marR="0" lvl="3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Calibri"/>
                <a:cs typeface="Times New Roman"/>
              </a:rPr>
              <a:t>Further development of the checklist</a:t>
            </a:r>
          </a:p>
          <a:p>
            <a:pPr marL="465455" marR="0" lvl="3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Calibri"/>
                <a:cs typeface="Times New Roman"/>
              </a:rPr>
              <a:t>Additional journal publication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Calibri"/>
              <a:cs typeface="Times New Roman" panose="02020603050405020304" pitchFamily="18" charset="0"/>
            </a:endParaRPr>
          </a:p>
          <a:p>
            <a:pPr marL="465455" marR="0" lvl="3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Calibri"/>
                <a:cs typeface="Times New Roman"/>
              </a:rPr>
              <a:t>Collaboration to other initiatives (e.g., FIND)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Calibri"/>
              <a:cs typeface="Times New Roman"/>
            </a:endParaRP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65 Bold"/>
              <a:ea typeface="+mn-ea"/>
              <a:cs typeface="+mn-cs"/>
            </a:endParaRPr>
          </a:p>
          <a:p>
            <a:pPr marL="465455" marR="0" lvl="3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4988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52D0CFD-7595-9C54-1A83-89E27B81F5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826785"/>
            <a:ext cx="11233150" cy="3959995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900" b="1" i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xternal expert group</a:t>
            </a:r>
            <a:r>
              <a:rPr lang="de-DE" sz="9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i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phabetical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rde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: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bouElkhi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Osama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chy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, Dubai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kogo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Darlington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inoHealt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I Labs, Ghana), Allen Megan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spire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a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salama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ad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WHO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Arentz, Matthew (FIND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Baird Pat (Philips, USA), Balachandra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radeep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Freelancer E-Health, Ind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stawrou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ndrew (Peek Vision, Global Eye Health, UK), Bathke Arne (University of Salzburg, Austr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iavegatto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lho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lexandre (São Paulo University, Brazil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resswell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thrin (University of Edinburgh, UK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arko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Ernest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roadReac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ealthcare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South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fric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Ehrenfeld Jesse (American Medical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ssociatio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AMA), USA), Fehr Jana (Hasso-Plattner-Institute, Germany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enec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tthew (Una Health, Germany), Fürstenau Daniel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openhage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Business School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nmark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audi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obert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aritè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Germany), Gilbert Stephen (Technische Universität Dresden, Germany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lo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teusz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reave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elix (National Institute for Health and Care Excellence (NICE), UK), Gupta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aurab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Department of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ardiology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All India Institute of Medical Science, Ind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ütte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Zdenek (University Hospital Olomouc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zechi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Hatton Grace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ensyne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, UK), Ho Dean (National University of Singapore, Singapore), Ibrahim Hussein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octors.net.uk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Islam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ariful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aki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AUS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arral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eza (Pro Care, NZ), Jeo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onghong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Electronics and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elecommuncation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esearch Institute, South Korea), Joh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omme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George Institute for Global Health, Ind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adam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igved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Head of digital access, FIND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herif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erath (LREN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uku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tephanie (WHO, UCL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urty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ichal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apão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Luís (Velez) (University of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isbo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Portugal), Linder Nina (University of Helsinki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n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Loh Irving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ovey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te (University of Auckland, NZ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grabi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arah (Macquarie University, Sydney, Austral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haja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rnav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Department of Medicine, University College Cork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re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lpani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ohit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WHO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mu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hondake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CMED Health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nglades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Masud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aki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ossai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huiya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CTS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nglades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Mati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ubet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Oxford University Hospitals NHS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oundatio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Trust, UK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cCradde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elissa (Sick Kids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opspital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Canada), Menezes Audrey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ealthily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Murchison Andrew (Oxford University Hospitals NHS Trust, UK), Murphy Lisa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entre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or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mproving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Data Collaboration at NHSX, UK), Essa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ohamedali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I Lab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Nakasi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ose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kerere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Uganda), Oala Luis (Fraunhofer Heinrich Hertz Institute (HHI), Germany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ankov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Natalie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etadvice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iekut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gata (Health Action Tank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an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rra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Lina (1Doc3, Colomb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eddy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andeep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aki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Australia), Salim Ally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spire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a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chwendicke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alk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aritè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Germany), Sethi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vpritesh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draprasth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nstitute of Information Technology Delhi, Indi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ood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arpreet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National Health Service (NHS), UK), Sousa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ê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Fraunhofer Portugal, Portugal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rivastav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nish (Virginia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ytechnic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nstitute &amp; State Univ., USA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tarlinge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Johannes (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owto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 Digital Business Solutions, Germany),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asswa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William (Global Auto Systems LTD, Uganda), Werneck Leite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ixandro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Tribal, Mexico)</a:t>
            </a:r>
          </a:p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900" b="1" i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riting group</a:t>
            </a:r>
            <a:r>
              <a:rPr lang="de-DE" sz="900" i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in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phabetical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rder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: Carolan Jane (UCL Institute of Health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ormatics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Denniston Alastair (University of Birmingham, UK), Karpathakis Kassandra (</a:t>
            </a:r>
            <a:r>
              <a:rPr lang="de-DE" sz="9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arvard University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Lee Naomi (National Institute for Health and Care Excellence (NICE), UK), Liu </a:t>
            </a:r>
            <a:r>
              <a:rPr lang="de-DE" sz="9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Xiaoxuan</a:t>
            </a:r>
            <a:r>
              <a:rPr lang="de-DE" sz="9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University of Birmingham, UK), Upadhyay Shubhanan (Ada Health, Germany), Weicken Eva (Fraunhofer Heinrich Hertz Institute (HHI), Germany), Wilkinson Thomas (Ministry of Health, NZ)</a:t>
            </a:r>
          </a:p>
          <a:p>
            <a:endParaRPr lang="de-DE" sz="90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6C786F-CF98-1238-04B3-1A19F1835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0EB7DE-D69A-47F7-8C66-AE1D971DBC2D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D1825DA-34B1-F476-3717-4924DA41BA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1482A0E-3BAB-85D1-0DA3-4035E1D067F5}"/>
              </a:ext>
            </a:extLst>
          </p:cNvPr>
          <p:cNvSpPr txBox="1"/>
          <p:nvPr/>
        </p:nvSpPr>
        <p:spPr>
          <a:xfrm>
            <a:off x="2173947" y="1002718"/>
            <a:ext cx="9077822" cy="3100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ig thank </a:t>
            </a:r>
            <a:r>
              <a:rPr kumimoji="0" lang="de-DE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you</a:t>
            </a:r>
            <a:r>
              <a:rPr kumimoji="0" lang="de-DE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to all </a:t>
            </a:r>
            <a:r>
              <a:rPr kumimoji="0" lang="de-DE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llaborators</a:t>
            </a:r>
            <a:r>
              <a:rPr kumimoji="0" lang="de-DE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!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2195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205549" y="3122628"/>
            <a:ext cx="11712574" cy="2131134"/>
          </a:xfrm>
        </p:spPr>
        <p:txBody>
          <a:bodyPr/>
          <a:lstStyle/>
          <a:p>
            <a:pPr lvl="0"/>
            <a:r>
              <a:rPr lang="de-DE" sz="2800" dirty="0"/>
              <a:t>ITU-WHO Focus Group AI for Health  </a:t>
            </a:r>
          </a:p>
          <a:p>
            <a:pPr lvl="1"/>
            <a:r>
              <a:rPr lang="de-DE" dirty="0"/>
              <a:t>—</a:t>
            </a:r>
          </a:p>
          <a:p>
            <a:pPr lvl="1"/>
            <a:r>
              <a:rPr lang="de-DE" dirty="0"/>
              <a:t>WG-Clinical Evaluation of AI for Health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63151D8-FA60-56F0-6305-1719FC523D28}"/>
              </a:ext>
            </a:extLst>
          </p:cNvPr>
          <p:cNvSpPr txBox="1"/>
          <p:nvPr/>
        </p:nvSpPr>
        <p:spPr>
          <a:xfrm>
            <a:off x="136418" y="5379141"/>
            <a:ext cx="11919163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Workshop - Geneva, 5 July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Naomi Lee, Shubhanan Upadhyay, Eva Weicken &amp; Alastair Denniston, Xiao Liu, Kassandra Karpathakis, Jane Carolan, Tommy Wilkinson  </a:t>
            </a:r>
          </a:p>
        </p:txBody>
      </p:sp>
      <p:pic>
        <p:nvPicPr>
          <p:cNvPr id="2" name="Google Shape;94;p18">
            <a:extLst>
              <a:ext uri="{FF2B5EF4-FFF2-40B4-BE49-F238E27FC236}">
                <a16:creationId xmlns:a16="http://schemas.microsoft.com/office/drawing/2014/main" id="{3F582F98-DE74-8D8F-3DEC-F620A38ADD84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Why clinical evaluation of AI for health?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itial problem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DD50A0-626B-7A2D-8AA1-8B0310B151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87066"/>
          </a:xfrm>
        </p:spPr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CBC861CC-12E4-3783-2629-38EAD371682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5489BD21-F090-4DF2-E18E-5C55002668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0856" y="1791101"/>
            <a:ext cx="3900486" cy="17456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 descr="Ein Bild, das Text, Screenshot, Kreis enthält.&#10;&#10;Automatisch generierte Beschreibung">
            <a:extLst>
              <a:ext uri="{FF2B5EF4-FFF2-40B4-BE49-F238E27FC236}">
                <a16:creationId xmlns:a16="http://schemas.microsoft.com/office/drawing/2014/main" id="{405C0D32-2926-579F-C74C-BE9CF5D6A2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2972" y="1493639"/>
            <a:ext cx="4090131" cy="389655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Grafik 12" descr="Ein Bild, das Text, Screenshot, Schrift, Design enthält.&#10;&#10;Automatisch generierte Beschreibung">
            <a:extLst>
              <a:ext uri="{FF2B5EF4-FFF2-40B4-BE49-F238E27FC236}">
                <a16:creationId xmlns:a16="http://schemas.microsoft.com/office/drawing/2014/main" id="{AEB9CDAB-5D77-84F3-CE31-40F0AC3BE7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97086" y="2636331"/>
            <a:ext cx="2541825" cy="224966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F086621E-632C-58E7-20C3-47E05F41FAC0}"/>
              </a:ext>
            </a:extLst>
          </p:cNvPr>
          <p:cNvSpPr txBox="1"/>
          <p:nvPr/>
        </p:nvSpPr>
        <p:spPr>
          <a:xfrm>
            <a:off x="7317283" y="3615625"/>
            <a:ext cx="32720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38/s42256-021-00307-0</a:t>
            </a: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C3E68FA-EDD7-9A21-8BF0-D6A96BAEF043}"/>
              </a:ext>
            </a:extLst>
          </p:cNvPr>
          <p:cNvSpPr txBox="1"/>
          <p:nvPr/>
        </p:nvSpPr>
        <p:spPr>
          <a:xfrm>
            <a:off x="8953326" y="4806337"/>
            <a:ext cx="4494638" cy="211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ealthitanalytics.com/news/fda-evaluations-of-medical-ai-devices-show-limitations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BE40713-B662-92F0-A6AB-515DE92CFBF8}"/>
              </a:ext>
            </a:extLst>
          </p:cNvPr>
          <p:cNvSpPr txBox="1"/>
          <p:nvPr/>
        </p:nvSpPr>
        <p:spPr>
          <a:xfrm>
            <a:off x="576278" y="5464223"/>
            <a:ext cx="39024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echnologyreview.com/2020/04/27/1000658/google-medical-ai-accurate-lab-real-life-clinic-covid-diabetes-retina-disease/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</a:p>
        </p:txBody>
      </p:sp>
      <p:pic>
        <p:nvPicPr>
          <p:cNvPr id="10" name="Grafik 9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35AA2D2D-E283-211A-AA6E-959B7DFDA8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77910" y="4067755"/>
            <a:ext cx="4439713" cy="17758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2D72339-DB9B-C871-A05F-A49968E0150A}"/>
              </a:ext>
            </a:extLst>
          </p:cNvPr>
          <p:cNvSpPr txBox="1"/>
          <p:nvPr/>
        </p:nvSpPr>
        <p:spPr>
          <a:xfrm>
            <a:off x="7714161" y="5778521"/>
            <a:ext cx="2633954" cy="2192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https://doi.org/10.1038/s41551-018-0305-z</a:t>
            </a: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2071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/>
              <a:t>Introductio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TU-WHO Working Group on Clinical Evalu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6C2938A9-A54F-56B8-70C7-14E289BF74B8}"/>
              </a:ext>
            </a:extLst>
          </p:cNvPr>
          <p:cNvSpPr txBox="1">
            <a:spLocks/>
          </p:cNvSpPr>
          <p:nvPr/>
        </p:nvSpPr>
        <p:spPr bwMode="gray">
          <a:xfrm>
            <a:off x="5456339" y="1358330"/>
            <a:ext cx="2768649" cy="2615130"/>
          </a:xfrm>
          <a:prstGeom prst="rect">
            <a:avLst/>
          </a:prstGeo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288000" tIns="288000" rIns="486000" bIns="28800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1" kern="1200">
                <a:solidFill>
                  <a:schemeClr val="bg1"/>
                </a:solidFill>
                <a:latin typeface="Frutiger LT Com 55 Roman" panose="020B05030305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Framework on clinical evaluation</a:t>
            </a:r>
          </a:p>
          <a:p>
            <a:pPr marL="0" marR="0" lvl="1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55 Roman" panose="020B050303050402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sign &amp; Purpose  Algorithmic validation  Clinical validation  Ongoing monitoring  Ethics &amp; economic eval.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F43FD4F-23AD-10EC-743D-C9FF82342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469533"/>
            <a:ext cx="4976915" cy="4417428"/>
          </a:xfrm>
        </p:spPr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Purpose</a:t>
            </a:r>
          </a:p>
          <a:p>
            <a:pPr marL="342900" lvl="0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de-DE" sz="18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llaboration</a:t>
            </a:r>
          </a:p>
          <a:p>
            <a:pPr marL="342900" lvl="0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en-US" sz="18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velop a framework (best practices &amp; principles) for clinicians, researchers, policy makers, patients, public, developers</a:t>
            </a:r>
            <a:endParaRPr lang="de-DE" sz="1800" dirty="0">
              <a:solidFill>
                <a:schemeClr val="tx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buFont typeface="Courier New" panose="02070309020205020404" pitchFamily="49" charset="0"/>
              <a:buChar char="o"/>
              <a:tabLst>
                <a:tab pos="457200" algn="l"/>
              </a:tabLst>
            </a:pPr>
            <a:r>
              <a:rPr lang="de-DE" sz="18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pecial consideration: </a:t>
            </a:r>
            <a:r>
              <a:rPr lang="de-DE" dirty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low resourced settings</a:t>
            </a:r>
            <a:endParaRPr lang="de-DE" dirty="0">
              <a:solidFill>
                <a:schemeClr val="tx1"/>
              </a:solidFill>
              <a:latin typeface="+mn-lt"/>
            </a:endParaRPr>
          </a:p>
          <a:p>
            <a:r>
              <a:rPr lang="de-DE" dirty="0">
                <a:solidFill>
                  <a:schemeClr val="accent2"/>
                </a:solidFill>
              </a:rPr>
              <a:t>Members (70+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  <a:latin typeface="+mn-lt"/>
              </a:rPr>
              <a:t>External expert group &amp; writing group 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13" name="Google Shape;94;p18">
            <a:extLst>
              <a:ext uri="{FF2B5EF4-FFF2-40B4-BE49-F238E27FC236}">
                <a16:creationId xmlns:a16="http://schemas.microsoft.com/office/drawing/2014/main" id="{B9431D2E-753E-A16F-7DAB-E27989F0501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1">
            <a:extLst>
              <a:ext uri="{FF2B5EF4-FFF2-40B4-BE49-F238E27FC236}">
                <a16:creationId xmlns:a16="http://schemas.microsoft.com/office/drawing/2014/main" id="{3EBDB7E7-5920-D6EF-C68F-58B42B72F7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41773" y="1358330"/>
            <a:ext cx="3207780" cy="452863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37909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/>
              <a:t>Achievements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Key deliverable &amp; outputs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DD50A0-626B-7A2D-8AA1-8B0310B151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4133550"/>
            <a:ext cx="11233150" cy="1461041"/>
          </a:xfrm>
        </p:spPr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dirty="0" err="1">
                <a:solidFill>
                  <a:schemeClr val="tx1"/>
                </a:solidFill>
                <a:latin typeface="+mn-lt"/>
              </a:rPr>
              <a:t>Importance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&amp; Impact: Development of 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key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deliverable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  <a:latin typeface="+mn-lt"/>
              </a:rPr>
              <a:t>To be used with other FG outpu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dirty="0" err="1">
                <a:solidFill>
                  <a:schemeClr val="tx1"/>
                </a:solidFill>
                <a:latin typeface="+mn-lt"/>
              </a:rPr>
              <a:t>Published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through ITU and WHO (</a:t>
            </a:r>
            <a:r>
              <a:rPr lang="de-DE" dirty="0" err="1">
                <a:solidFill>
                  <a:schemeClr val="tx1"/>
                </a:solidFill>
                <a:latin typeface="+mn-lt"/>
              </a:rPr>
              <a:t>under</a:t>
            </a:r>
            <a:r>
              <a:rPr lang="de-DE" dirty="0">
                <a:solidFill>
                  <a:schemeClr val="tx1"/>
                </a:solidFill>
                <a:latin typeface="+mn-lt"/>
              </a:rPr>
              <a:t> review)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DFC24873-3E95-DF6A-CB03-45638AC0E6D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Diagram 5">
            <a:extLst>
              <a:ext uri="{FF2B5EF4-FFF2-40B4-BE49-F238E27FC236}">
                <a16:creationId xmlns:a16="http://schemas.microsoft.com/office/drawing/2014/main" id="{C54A1D2C-B200-9FF2-88F5-B12B6272DD9A}"/>
              </a:ext>
            </a:extLst>
          </p:cNvPr>
          <p:cNvGraphicFramePr/>
          <p:nvPr/>
        </p:nvGraphicFramePr>
        <p:xfrm>
          <a:off x="232460" y="395588"/>
          <a:ext cx="8612817" cy="4468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9" name="Picture 1">
            <a:extLst>
              <a:ext uri="{FF2B5EF4-FFF2-40B4-BE49-F238E27FC236}">
                <a16:creationId xmlns:a16="http://schemas.microsoft.com/office/drawing/2014/main" id="{F0128225-19BC-F1D1-CF74-3131D3A9E1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82667" y="1740604"/>
            <a:ext cx="2729908" cy="38539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523088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nhaltsplatzhalter 29">
            <a:extLst>
              <a:ext uri="{FF2B5EF4-FFF2-40B4-BE49-F238E27FC236}">
                <a16:creationId xmlns:a16="http://schemas.microsoft.com/office/drawing/2014/main" id="{6F6B86E3-7742-6DB2-1889-DF5B77885D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526" b="1108"/>
          <a:stretch/>
        </p:blipFill>
        <p:spPr>
          <a:xfrm>
            <a:off x="1466489" y="1345680"/>
            <a:ext cx="8745377" cy="479122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/>
              <a:t>Achievements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ramework for Clinical Evaluation of AI for Health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DFC24873-3E95-DF6A-CB03-45638AC0E6DE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8379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788999"/>
          </a:xfrm>
        </p:spPr>
        <p:txBody>
          <a:bodyPr/>
          <a:lstStyle/>
          <a:p>
            <a:r>
              <a:rPr lang="de-DE" dirty="0"/>
              <a:t>Achievements</a:t>
            </a:r>
            <a:br>
              <a:rPr lang="de-DE" dirty="0"/>
            </a:b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de-DE" dirty="0"/>
              <a:t>Role of ITU-WHO Working Group on Clinical Evaluation</a:t>
            </a:r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CBC861CC-12E4-3783-2629-38EAD371682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21414F55-B45C-AB21-2518-D09DCB651D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3859" y="1426945"/>
            <a:ext cx="2666659" cy="13215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Grafik 18" descr="Ein Bild, das Text, Screenshot, Software, Webseite enthält.&#10;&#10;Automatisch generierte Beschreibung">
            <a:extLst>
              <a:ext uri="{FF2B5EF4-FFF2-40B4-BE49-F238E27FC236}">
                <a16:creationId xmlns:a16="http://schemas.microsoft.com/office/drawing/2014/main" id="{E003886A-8242-2F1E-A392-DF57FB8BDD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74851" y="1378673"/>
            <a:ext cx="1790756" cy="232565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1" name="Grafik 2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28E1D0EB-6BAD-456B-6F02-D017831A49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754" y="1457667"/>
            <a:ext cx="2728652" cy="12353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 descr="Ein Bild, das Text, Schrift, Screenshot, Reihe enthält.&#10;&#10;Automatisch generierte Beschreibung">
            <a:extLst>
              <a:ext uri="{FF2B5EF4-FFF2-40B4-BE49-F238E27FC236}">
                <a16:creationId xmlns:a16="http://schemas.microsoft.com/office/drawing/2014/main" id="{859F2E3E-814C-84B8-4FA7-21FDA3EAD0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521" y="2967049"/>
            <a:ext cx="3618761" cy="7733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06B32C26-6B0B-2738-EF19-55C30AC9FD03}"/>
              </a:ext>
            </a:extLst>
          </p:cNvPr>
          <p:cNvSpPr txBox="1"/>
          <p:nvPr/>
        </p:nvSpPr>
        <p:spPr>
          <a:xfrm>
            <a:off x="292907" y="2584815"/>
            <a:ext cx="2327570" cy="21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S2589-7500(22)00003-6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4FC2F83-A275-E6EE-B51A-10498B030BC2}"/>
              </a:ext>
            </a:extLst>
          </p:cNvPr>
          <p:cNvSpPr txBox="1"/>
          <p:nvPr/>
        </p:nvSpPr>
        <p:spPr>
          <a:xfrm>
            <a:off x="7964715" y="2399617"/>
            <a:ext cx="3061076" cy="475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38/s41591-020-0941-1</a:t>
            </a: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C4A65E7F-1B45-BBB5-F352-11BEE40CE4EB}"/>
              </a:ext>
            </a:extLst>
          </p:cNvPr>
          <p:cNvSpPr txBox="1"/>
          <p:nvPr/>
        </p:nvSpPr>
        <p:spPr>
          <a:xfrm>
            <a:off x="6967893" y="3819152"/>
            <a:ext cx="2697712" cy="21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S2589-7500(20)30317-4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F0A43A0-6A08-7F4C-CCB7-501724F47663}"/>
              </a:ext>
            </a:extLst>
          </p:cNvPr>
          <p:cNvSpPr txBox="1"/>
          <p:nvPr/>
        </p:nvSpPr>
        <p:spPr>
          <a:xfrm>
            <a:off x="3256456" y="3695001"/>
            <a:ext cx="1967653" cy="2185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2196/31623</a:t>
            </a: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</a:p>
        </p:txBody>
      </p:sp>
      <p:pic>
        <p:nvPicPr>
          <p:cNvPr id="9" name="Grafik 8" descr="Ein Bild, das Text, Schrift, Screenshot enthält.&#10;&#10;Automatisch generierte Beschreibung">
            <a:extLst>
              <a:ext uri="{FF2B5EF4-FFF2-40B4-BE49-F238E27FC236}">
                <a16:creationId xmlns:a16="http://schemas.microsoft.com/office/drawing/2014/main" id="{C2BA74F9-BD58-F62E-C59C-42FE69F8D1C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51198" y="1424520"/>
            <a:ext cx="3212973" cy="106124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 descr="Ein Bild, das Text, Screenshot, Schrift enthält.&#10;&#10;Automatisch generierte Beschreibung">
            <a:extLst>
              <a:ext uri="{FF2B5EF4-FFF2-40B4-BE49-F238E27FC236}">
                <a16:creationId xmlns:a16="http://schemas.microsoft.com/office/drawing/2014/main" id="{0A9E73E4-A927-B321-06D0-56F99F44C4C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89971" y="2693042"/>
            <a:ext cx="2426999" cy="11888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B93AC2E-CE0A-2C07-05DF-3258940A100B}"/>
              </a:ext>
            </a:extLst>
          </p:cNvPr>
          <p:cNvSpPr txBox="1"/>
          <p:nvPr/>
        </p:nvSpPr>
        <p:spPr>
          <a:xfrm>
            <a:off x="4494249" y="2693042"/>
            <a:ext cx="1899460" cy="724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38/s41591-020-1037-7</a:t>
            </a: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FB6E4F1-73B6-A440-4311-E228CFC65E05}"/>
              </a:ext>
            </a:extLst>
          </p:cNvPr>
          <p:cNvSpPr txBox="1"/>
          <p:nvPr/>
        </p:nvSpPr>
        <p:spPr>
          <a:xfrm>
            <a:off x="9364171" y="3789912"/>
            <a:ext cx="254959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600" b="0" i="0" u="none" strike="noStrike" kern="1200" cap="none" spc="0" normalizeH="0" baseline="0" noProof="0" dirty="0">
                <a:ln>
                  <a:noFill/>
                </a:ln>
                <a:solidFill>
                  <a:srgbClr val="A6BBC8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knowledge.worldbank.org/server/api/core/bitstreams/f8d4714e-44f5-43b1-bcc3-798cd0d85c9f/content</a:t>
            </a: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endParaRPr kumimoji="0" lang="de-DE" sz="600" b="0" i="0" u="none" strike="noStrike" kern="1200" cap="none" spc="0" normalizeH="0" baseline="0" noProof="0" dirty="0">
              <a:ln>
                <a:noFill/>
              </a:ln>
              <a:solidFill>
                <a:srgbClr val="A6BBC8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3D6F0C9-41CE-5D1E-421F-298AFB783590}"/>
              </a:ext>
            </a:extLst>
          </p:cNvPr>
          <p:cNvSpPr txBox="1"/>
          <p:nvPr/>
        </p:nvSpPr>
        <p:spPr>
          <a:xfrm>
            <a:off x="292908" y="4201049"/>
            <a:ext cx="11568080" cy="17220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eyond the written deliverable, WG-CE has also: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reated a global community of experts with a shared mission of creating a framework that leaves no one behind 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een a catalyst for work globally on clinical evaluation with members authoring major papers and policies in the field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hairs and members have provided thought leadership through speaking and influencing at global events</a:t>
            </a:r>
          </a:p>
          <a:p>
            <a:pPr marL="180000" marR="0" lvl="0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50148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/>
              <a:t>Applicatio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de-DE"/>
              <a:t>Collaboration between WG-CE and Topic Groups (TG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2ECD63ED-D43F-9B86-3E4B-D480A7E1634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7D99CE80-2A84-CDD5-2FD0-C4A0D4F3A20F}"/>
              </a:ext>
            </a:extLst>
          </p:cNvPr>
          <p:cNvSpPr/>
          <p:nvPr/>
        </p:nvSpPr>
        <p:spPr>
          <a:xfrm>
            <a:off x="473334" y="1874510"/>
            <a:ext cx="5616576" cy="3736427"/>
          </a:xfrm>
          <a:prstGeom prst="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4B1C3E1A-BA4A-AB1F-D1F2-8689FBEE24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9306" y="2414090"/>
            <a:ext cx="5164631" cy="2657266"/>
          </a:xfrm>
        </p:spPr>
        <p:txBody>
          <a:bodyPr/>
          <a:lstStyle/>
          <a:p>
            <a:pPr marL="285750" lvl="1" indent="-285750">
              <a:buFont typeface="Courier New" panose="02070309020205020404" pitchFamily="49" charset="0"/>
              <a:buChar char="o"/>
            </a:pPr>
            <a:r>
              <a:rPr lang="en-US" sz="1800" dirty="0"/>
              <a:t>Utilize WG-CE’s framework for the TG’s benchmarking of AI systems</a:t>
            </a:r>
          </a:p>
          <a:p>
            <a:pPr marL="285750" lvl="1" indent="-285750">
              <a:buFont typeface="Courier New" panose="02070309020205020404" pitchFamily="49" charset="0"/>
              <a:buChar char="o"/>
            </a:pPr>
            <a:r>
              <a:rPr lang="en-US" sz="1800" dirty="0"/>
              <a:t>Reflected in the TG-deliverables (TDD)</a:t>
            </a:r>
          </a:p>
          <a:p>
            <a:pPr marL="285750" lvl="1" indent="-285750">
              <a:buFont typeface="Courier New" panose="02070309020205020404" pitchFamily="49" charset="0"/>
              <a:buChar char="o"/>
            </a:pPr>
            <a:r>
              <a:rPr lang="en-US" sz="1800" dirty="0"/>
              <a:t>Development of a checklist based on WG-CE framework</a:t>
            </a:r>
          </a:p>
          <a:p>
            <a:pPr marL="285750" lvl="1" indent="-285750">
              <a:buFont typeface="Courier New" panose="02070309020205020404" pitchFamily="49" charset="0"/>
              <a:buChar char="o"/>
            </a:pPr>
            <a:endParaRPr lang="en-US" sz="1800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4A4C5415-D4CB-9731-4F6C-F2F431C1A43F}"/>
              </a:ext>
            </a:extLst>
          </p:cNvPr>
          <p:cNvSpPr/>
          <p:nvPr/>
        </p:nvSpPr>
        <p:spPr>
          <a:xfrm>
            <a:off x="6315882" y="1874510"/>
            <a:ext cx="5616576" cy="3736427"/>
          </a:xfrm>
          <a:prstGeom prst="rect">
            <a:avLst/>
          </a:prstGeom>
          <a:solidFill>
            <a:srgbClr val="E5EE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marR="0" lvl="0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1B5EE2DA-D9FE-4E00-18EF-CA51FE2880D2}"/>
              </a:ext>
            </a:extLst>
          </p:cNvPr>
          <p:cNvGraphicFramePr/>
          <p:nvPr/>
        </p:nvGraphicFramePr>
        <p:xfrm>
          <a:off x="6873567" y="2095904"/>
          <a:ext cx="4619127" cy="31968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27785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143EEA-B043-CEEB-3323-4FD2FD8EB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/>
          <a:lstStyle/>
          <a:p>
            <a:r>
              <a:rPr lang="de-DE" dirty="0"/>
              <a:t>Applic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4D43EC8-72F7-EE82-36E5-5C32597F00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901529"/>
          </a:xfrm>
        </p:spPr>
        <p:txBody>
          <a:bodyPr/>
          <a:lstStyle/>
          <a:p>
            <a:r>
              <a:rPr lang="en-US" sz="2000"/>
              <a:t>Example: Topic Group “Point-of-Care” (Univ. Helsinki &amp; Karolinska Institute &amp; Uppsala Univ.)</a:t>
            </a:r>
          </a:p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DD50A0-626B-7A2D-8AA1-8B0310B151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4409" y="4514471"/>
            <a:ext cx="9908222" cy="2702406"/>
          </a:xfrm>
        </p:spPr>
        <p:txBody>
          <a:bodyPr/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nical p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ojects within TG “Point-of-care”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ervical cancer screening in Kenya &amp; Tanzania 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aluation of the framework by using it from the start of a new validation study in Tanzania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velopment of a checklist for clinical evaluation based on the framework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endParaRPr lang="en-US" sz="18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>
              <a:buFont typeface="Courier New" panose="02070309020205020404" pitchFamily="49" charset="0"/>
              <a:buChar char="o"/>
            </a:pPr>
            <a:endParaRPr lang="en-US" sz="1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D314F60-072A-722D-CD62-66FA23D821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C6F8B1-0014-4786-95CD-E23A6A3E92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7.20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3C2F5C-FB1F-C8D0-19F9-7C4B2993D8E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EE41-304C-41C3-8185-350F2275D75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6" name="Google Shape;94;p18">
            <a:extLst>
              <a:ext uri="{FF2B5EF4-FFF2-40B4-BE49-F238E27FC236}">
                <a16:creationId xmlns:a16="http://schemas.microsoft.com/office/drawing/2014/main" id="{2ECD63ED-D43F-9B86-3E4B-D480A7E16347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C2A5AD0-5654-C751-B7B4-00DACEB3D5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080" y="1548393"/>
            <a:ext cx="4820744" cy="2562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 descr="Ein Bild, das Text, Baum, draußen, Pflanze enthält.&#10;&#10;Automatisch generierte Beschreibung">
            <a:extLst>
              <a:ext uri="{FF2B5EF4-FFF2-40B4-BE49-F238E27FC236}">
                <a16:creationId xmlns:a16="http://schemas.microsoft.com/office/drawing/2014/main" id="{FE2ECAF5-A60E-4ACC-97D7-1D12E8368E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1261" y="1573725"/>
            <a:ext cx="2301697" cy="19112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 descr="Ein Bild, das Im Haus, Text, Wand, Computer enthält.&#10;&#10;Automatisch generierte Beschreibung">
            <a:extLst>
              <a:ext uri="{FF2B5EF4-FFF2-40B4-BE49-F238E27FC236}">
                <a16:creationId xmlns:a16="http://schemas.microsoft.com/office/drawing/2014/main" id="{1F3D400D-091B-F478-E311-CED2073128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395" y="1593138"/>
            <a:ext cx="2110298" cy="262861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 descr="Ein Bild, das Text, Screenshot, Brief, Schrift enthält.&#10;&#10;Automatisch generierte Beschreibung">
            <a:extLst>
              <a:ext uri="{FF2B5EF4-FFF2-40B4-BE49-F238E27FC236}">
                <a16:creationId xmlns:a16="http://schemas.microsoft.com/office/drawing/2014/main" id="{8D1BF73F-C6AA-E8A0-5387-EFB7C742E7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4105" y="1593138"/>
            <a:ext cx="1953486" cy="27552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477008EC-5F0F-2D57-3DC7-F354BB8BE5C4}"/>
              </a:ext>
            </a:extLst>
          </p:cNvPr>
          <p:cNvSpPr txBox="1"/>
          <p:nvPr/>
        </p:nvSpPr>
        <p:spPr>
          <a:xfrm>
            <a:off x="324409" y="4060569"/>
            <a:ext cx="1275354" cy="216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ource: Nina Linder</a:t>
            </a:r>
          </a:p>
        </p:txBody>
      </p:sp>
    </p:spTree>
    <p:extLst>
      <p:ext uri="{BB962C8B-B14F-4D97-AF65-F5344CB8AC3E}">
        <p14:creationId xmlns:p14="http://schemas.microsoft.com/office/powerpoint/2010/main" val="42021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HHI_Master für Präsentationen_EN.pptx" id="{F76CD5A7-3263-44B8-9281-D11CDC4A237D}" vid="{E8FEB365-5CF3-4F33-963C-27BAFBB81EC7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83C2E4A-FB92-4645-9CB9-CAA5AED177B1}"/>
</file>

<file path=customXml/itemProps2.xml><?xml version="1.0" encoding="utf-8"?>
<ds:datastoreItem xmlns:ds="http://schemas.openxmlformats.org/officeDocument/2006/customXml" ds:itemID="{263EDF69-883F-4630-8D5D-47FF3AA110B2}"/>
</file>

<file path=customXml/itemProps3.xml><?xml version="1.0" encoding="utf-8"?>
<ds:datastoreItem xmlns:ds="http://schemas.openxmlformats.org/officeDocument/2006/customXml" ds:itemID="{8D757891-533E-4B08-9CC2-432445C0232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83</TotalTime>
  <Words>1420</Words>
  <Application>Microsoft Office PowerPoint</Application>
  <PresentationFormat>Widescreen</PresentationFormat>
  <Paragraphs>128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等线</vt:lpstr>
      <vt:lpstr>-apple-system</vt:lpstr>
      <vt:lpstr>Arial</vt:lpstr>
      <vt:lpstr>Calibri</vt:lpstr>
      <vt:lpstr>Calibri Light</vt:lpstr>
      <vt:lpstr>Courier New</vt:lpstr>
      <vt:lpstr>Courier New,monospace</vt:lpstr>
      <vt:lpstr>Frutiger LT Com 45 Light</vt:lpstr>
      <vt:lpstr>Frutiger LT Com 55 Roman</vt:lpstr>
      <vt:lpstr>Frutiger LT Com 65 Bold</vt:lpstr>
      <vt:lpstr>Segoe UI</vt:lpstr>
      <vt:lpstr>Symbol</vt:lpstr>
      <vt:lpstr>Wingdings</vt:lpstr>
      <vt:lpstr>Office 主题​​</vt:lpstr>
      <vt:lpstr>Fraunhofer_Master_16-9</vt:lpstr>
      <vt:lpstr>think-cell Folie</vt:lpstr>
      <vt:lpstr>PowerPoint Presentation</vt:lpstr>
      <vt:lpstr>PowerPoint Presentation</vt:lpstr>
      <vt:lpstr>Why clinical evaluation of AI for health? </vt:lpstr>
      <vt:lpstr>Introduction </vt:lpstr>
      <vt:lpstr>Achievements </vt:lpstr>
      <vt:lpstr>Achievements </vt:lpstr>
      <vt:lpstr>Achievements </vt:lpstr>
      <vt:lpstr>Application </vt:lpstr>
      <vt:lpstr>Application</vt:lpstr>
      <vt:lpstr>Integration in the ITU-WHO-WIPO Global Initiative (GI)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.1 - Presentation - WG-Clinical Evaluation of AI for Health </dc:title>
  <dc:creator>Campos, Simao</dc:creator>
  <cp:lastModifiedBy>TSB (HT)</cp:lastModifiedBy>
  <cp:revision>78</cp:revision>
  <cp:lastPrinted>2019-04-04T08:49:31Z</cp:lastPrinted>
  <dcterms:created xsi:type="dcterms:W3CDTF">2019-03-31T15:53:06Z</dcterms:created>
  <dcterms:modified xsi:type="dcterms:W3CDTF">2023-07-05T07:0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